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6.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8.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9.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0.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1.xml" ContentType="application/vnd.openxmlformats-officedocument.theme+xml"/>
  <Override PartName="/ppt/tags/tag97.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2.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theme/theme13.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4.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15.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6.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17.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5" r:id="rId4"/>
    <p:sldMasterId id="2147484769" r:id="rId5"/>
    <p:sldMasterId id="2147484825" r:id="rId6"/>
    <p:sldMasterId id="2147484880" r:id="rId7"/>
    <p:sldMasterId id="2147484932" r:id="rId8"/>
    <p:sldMasterId id="2147484971" r:id="rId9"/>
    <p:sldMasterId id="2147485027" r:id="rId10"/>
    <p:sldMasterId id="2147485067" r:id="rId11"/>
    <p:sldMasterId id="2147485106" r:id="rId12"/>
    <p:sldMasterId id="2147485145" r:id="rId13"/>
    <p:sldMasterId id="2147485177" r:id="rId14"/>
    <p:sldMasterId id="2147485190" r:id="rId15"/>
    <p:sldMasterId id="2147485223" r:id="rId16"/>
    <p:sldMasterId id="2147485257" r:id="rId17"/>
    <p:sldMasterId id="2147485292" r:id="rId18"/>
    <p:sldMasterId id="2147485301" r:id="rId19"/>
    <p:sldMasterId id="2147485311" r:id="rId20"/>
    <p:sldMasterId id="2147485347" r:id="rId21"/>
  </p:sldMasterIdLst>
  <p:notesMasterIdLst>
    <p:notesMasterId r:id="rId45"/>
  </p:notesMasterIdLst>
  <p:handoutMasterIdLst>
    <p:handoutMasterId r:id="rId46"/>
  </p:handoutMasterIdLst>
  <p:sldIdLst>
    <p:sldId id="2123" r:id="rId22"/>
    <p:sldId id="2214" r:id="rId23"/>
    <p:sldId id="2213" r:id="rId24"/>
    <p:sldId id="2187" r:id="rId25"/>
    <p:sldId id="2211" r:id="rId26"/>
    <p:sldId id="2212" r:id="rId27"/>
    <p:sldId id="2195" r:id="rId28"/>
    <p:sldId id="2196" r:id="rId29"/>
    <p:sldId id="2210" r:id="rId30"/>
    <p:sldId id="2198" r:id="rId31"/>
    <p:sldId id="2199" r:id="rId32"/>
    <p:sldId id="2221" r:id="rId33"/>
    <p:sldId id="2200" r:id="rId34"/>
    <p:sldId id="2222" r:id="rId35"/>
    <p:sldId id="2223" r:id="rId36"/>
    <p:sldId id="2201" r:id="rId37"/>
    <p:sldId id="2202" r:id="rId38"/>
    <p:sldId id="2203" r:id="rId39"/>
    <p:sldId id="2204" r:id="rId40"/>
    <p:sldId id="2205" r:id="rId41"/>
    <p:sldId id="2209" r:id="rId42"/>
    <p:sldId id="2224" r:id="rId43"/>
    <p:sldId id="2182" r:id="rId44"/>
  </p:sldIdLst>
  <p:sldSz cx="9144000" cy="6858000" type="letter"/>
  <p:notesSz cx="6858000" cy="9296400"/>
  <p:custDataLst>
    <p:tags r:id="rId47"/>
  </p:custDataLst>
  <p:defaultTextStyle>
    <a:defPPr>
      <a:defRPr lang="en-US"/>
    </a:defPPr>
    <a:lvl1pPr algn="l" rtl="0" fontAlgn="base">
      <a:spcBef>
        <a:spcPct val="0"/>
      </a:spcBef>
      <a:spcAft>
        <a:spcPct val="0"/>
      </a:spcAft>
      <a:defRPr sz="1100" kern="1200">
        <a:solidFill>
          <a:schemeClr val="tx1"/>
        </a:solidFill>
        <a:latin typeface="Arial" charset="0"/>
        <a:ea typeface="+mn-ea"/>
        <a:cs typeface="Arial" charset="0"/>
      </a:defRPr>
    </a:lvl1pPr>
    <a:lvl2pPr marL="457200" algn="l" rtl="0" fontAlgn="base">
      <a:spcBef>
        <a:spcPct val="0"/>
      </a:spcBef>
      <a:spcAft>
        <a:spcPct val="0"/>
      </a:spcAft>
      <a:defRPr sz="1100" kern="1200">
        <a:solidFill>
          <a:schemeClr val="tx1"/>
        </a:solidFill>
        <a:latin typeface="Arial" charset="0"/>
        <a:ea typeface="+mn-ea"/>
        <a:cs typeface="Arial" charset="0"/>
      </a:defRPr>
    </a:lvl2pPr>
    <a:lvl3pPr marL="914400" algn="l" rtl="0" fontAlgn="base">
      <a:spcBef>
        <a:spcPct val="0"/>
      </a:spcBef>
      <a:spcAft>
        <a:spcPct val="0"/>
      </a:spcAft>
      <a:defRPr sz="1100" kern="1200">
        <a:solidFill>
          <a:schemeClr val="tx1"/>
        </a:solidFill>
        <a:latin typeface="Arial" charset="0"/>
        <a:ea typeface="+mn-ea"/>
        <a:cs typeface="Arial" charset="0"/>
      </a:defRPr>
    </a:lvl3pPr>
    <a:lvl4pPr marL="1371600" algn="l" rtl="0" fontAlgn="base">
      <a:spcBef>
        <a:spcPct val="0"/>
      </a:spcBef>
      <a:spcAft>
        <a:spcPct val="0"/>
      </a:spcAft>
      <a:defRPr sz="1100" kern="1200">
        <a:solidFill>
          <a:schemeClr val="tx1"/>
        </a:solidFill>
        <a:latin typeface="Arial" charset="0"/>
        <a:ea typeface="+mn-ea"/>
        <a:cs typeface="Arial" charset="0"/>
      </a:defRPr>
    </a:lvl4pPr>
    <a:lvl5pPr marL="1828800" algn="l" rtl="0" fontAlgn="base">
      <a:spcBef>
        <a:spcPct val="0"/>
      </a:spcBef>
      <a:spcAft>
        <a:spcPct val="0"/>
      </a:spcAft>
      <a:defRPr sz="1100" kern="1200">
        <a:solidFill>
          <a:schemeClr val="tx1"/>
        </a:solidFill>
        <a:latin typeface="Arial" charset="0"/>
        <a:ea typeface="+mn-ea"/>
        <a:cs typeface="Arial" charset="0"/>
      </a:defRPr>
    </a:lvl5pPr>
    <a:lvl6pPr marL="2286000" algn="l" defTabSz="914400" rtl="0" eaLnBrk="1" latinLnBrk="0" hangingPunct="1">
      <a:defRPr sz="1100" kern="1200">
        <a:solidFill>
          <a:schemeClr val="tx1"/>
        </a:solidFill>
        <a:latin typeface="Arial" charset="0"/>
        <a:ea typeface="+mn-ea"/>
        <a:cs typeface="Arial" charset="0"/>
      </a:defRPr>
    </a:lvl6pPr>
    <a:lvl7pPr marL="2743200" algn="l" defTabSz="914400" rtl="0" eaLnBrk="1" latinLnBrk="0" hangingPunct="1">
      <a:defRPr sz="1100" kern="1200">
        <a:solidFill>
          <a:schemeClr val="tx1"/>
        </a:solidFill>
        <a:latin typeface="Arial" charset="0"/>
        <a:ea typeface="+mn-ea"/>
        <a:cs typeface="Arial" charset="0"/>
      </a:defRPr>
    </a:lvl7pPr>
    <a:lvl8pPr marL="3200400" algn="l" defTabSz="914400" rtl="0" eaLnBrk="1" latinLnBrk="0" hangingPunct="1">
      <a:defRPr sz="1100" kern="1200">
        <a:solidFill>
          <a:schemeClr val="tx1"/>
        </a:solidFill>
        <a:latin typeface="Arial" charset="0"/>
        <a:ea typeface="+mn-ea"/>
        <a:cs typeface="Arial" charset="0"/>
      </a:defRPr>
    </a:lvl8pPr>
    <a:lvl9pPr marL="3657600" algn="l" defTabSz="914400" rtl="0" eaLnBrk="1" latinLnBrk="0" hangingPunct="1">
      <a:defRPr sz="1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1440" userDrawn="1">
          <p15:clr>
            <a:srgbClr val="A4A3A4"/>
          </p15:clr>
        </p15:guide>
        <p15:guide id="2" orient="horz" pos="160">
          <p15:clr>
            <a:srgbClr val="A4A3A4"/>
          </p15:clr>
        </p15:guide>
        <p15:guide id="3" orient="horz" pos="728">
          <p15:clr>
            <a:srgbClr val="A4A3A4"/>
          </p15:clr>
        </p15:guide>
        <p15:guide id="4" orient="horz" pos="1320" userDrawn="1">
          <p15:clr>
            <a:srgbClr val="A4A3A4"/>
          </p15:clr>
        </p15:guide>
        <p15:guide id="5" orient="horz" pos="1560" userDrawn="1">
          <p15:clr>
            <a:srgbClr val="A4A3A4"/>
          </p15:clr>
        </p15:guide>
        <p15:guide id="6" orient="horz" pos="3984" userDrawn="1">
          <p15:clr>
            <a:srgbClr val="A4A3A4"/>
          </p15:clr>
        </p15:guide>
        <p15:guide id="7" pos="2880">
          <p15:clr>
            <a:srgbClr val="A4A3A4"/>
          </p15:clr>
        </p15:guide>
        <p15:guide id="8" pos="2984">
          <p15:clr>
            <a:srgbClr val="A4A3A4"/>
          </p15:clr>
        </p15:guide>
        <p15:guide id="9" pos="2776">
          <p15:clr>
            <a:srgbClr val="A4A3A4"/>
          </p15:clr>
        </p15:guide>
        <p15:guide id="10" pos="368">
          <p15:clr>
            <a:srgbClr val="A4A3A4"/>
          </p15:clr>
        </p15:guide>
        <p15:guide id="11" pos="256">
          <p15:clr>
            <a:srgbClr val="A4A3A4"/>
          </p15:clr>
        </p15:guide>
        <p15:guide id="12" pos="5392">
          <p15:clr>
            <a:srgbClr val="A4A3A4"/>
          </p15:clr>
        </p15:guide>
        <p15:guide id="13" pos="5504">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ildebrand, Josh" initials="JH" lastIdx="16" clrIdx="0"/>
  <p:cmAuthor id="1" name="Strandberg, Selena" initials="SS" lastIdx="3" clrIdx="1"/>
  <p:cmAuthor id="2" name="Altimore, Tony" initials="TA" lastIdx="112" clrIdx="2"/>
  <p:cmAuthor id="3" name="Berman, Sam" initials="SB" lastIdx="3" clrIdx="3"/>
  <p:cmAuthor id="4" name="Ennis, Henry William" initials="HE" lastIdx="20" clrIdx="4"/>
  <p:cmAuthor id="5" name="Ennis, Henry W., CTR, DSS" initials="EHWCD" lastIdx="1" clrIdx="5"/>
  <p:cmAuthor id="6" name="Ostroff, Andrew" initials="AO" lastIdx="12" clrIdx="6"/>
  <p:cmAuthor id="7" name="Hill, Kelly Lynn" initials="KH" lastIdx="4" clrIdx="7"/>
  <p:cmAuthor id="8" name="Wang, Nancy Z" initials="NW" lastIdx="2" clrIdx="8"/>
  <p:cmAuthor id="9" name="Hill, Kelly, CTR, DSS" initials="HKCD" lastIdx="1" clrIdx="9"/>
  <p:cmAuthor id="10" name="Cahill, Tom" initials="TC" lastIdx="1" clrIdx="10"/>
  <p:cmAuthor id="11" name="Thomson, Lisa" initials="LT" lastIdx="90" clrIdx="11"/>
  <p:cmAuthor id="12" name="Sherman, Tyler" initials="TS" lastIdx="15" clrIdx="12">
    <p:extLst/>
  </p:cmAuthor>
  <p:cmAuthor id="13" name="O'connor, Catherine (US - Arlington)" initials="OC(-A" lastIdx="43" clrIdx="13">
    <p:extLst/>
  </p:cmAuthor>
  <p:cmAuthor id="14" name="Kilgallin, Amy" initials="AK" lastIdx="52" clrIdx="14">
    <p:extLst/>
  </p:cmAuthor>
  <p:cmAuthor id="15" name="Sfreddo, Sydney Coren" initials="SS" lastIdx="64" clrIdx="15">
    <p:extLst/>
  </p:cmAuthor>
  <p:cmAuthor id="16" name="Cook, Vanessa" initials="VC" lastIdx="93" clrIdx="16">
    <p:extLst/>
  </p:cmAuthor>
  <p:cmAuthor id="17" name="Philip Wyman" initials="PW" lastIdx="2"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AADDF1"/>
    <a:srgbClr val="F9F9F9"/>
    <a:srgbClr val="002776"/>
    <a:srgbClr val="FFFF75"/>
    <a:srgbClr val="69D8FF"/>
    <a:srgbClr val="000000"/>
    <a:srgbClr val="B7E5FF"/>
    <a:srgbClr val="E7F6FF"/>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722" autoAdjust="0"/>
    <p:restoredTop sz="63981" autoAdjust="0"/>
  </p:normalViewPr>
  <p:slideViewPr>
    <p:cSldViewPr snapToGrid="0">
      <p:cViewPr varScale="1">
        <p:scale>
          <a:sx n="116" d="100"/>
          <a:sy n="116" d="100"/>
        </p:scale>
        <p:origin x="-2226" y="-102"/>
      </p:cViewPr>
      <p:guideLst>
        <p:guide orient="horz" pos="1440"/>
        <p:guide orient="horz" pos="160"/>
        <p:guide orient="horz" pos="728"/>
        <p:guide orient="horz" pos="1320"/>
        <p:guide orient="horz" pos="1560"/>
        <p:guide orient="horz" pos="3984"/>
        <p:guide pos="2880"/>
        <p:guide pos="2984"/>
        <p:guide pos="2776"/>
        <p:guide pos="368"/>
        <p:guide pos="256"/>
        <p:guide pos="5392"/>
        <p:guide pos="5504"/>
      </p:guideLst>
    </p:cSldViewPr>
  </p:slideViewPr>
  <p:outlineViewPr>
    <p:cViewPr>
      <p:scale>
        <a:sx n="33" d="100"/>
        <a:sy n="33" d="100"/>
      </p:scale>
      <p:origin x="48" y="9450"/>
    </p:cViewPr>
  </p:outlineViewPr>
  <p:notesTextViewPr>
    <p:cViewPr>
      <p:scale>
        <a:sx n="100" d="100"/>
        <a:sy n="100" d="100"/>
      </p:scale>
      <p:origin x="0" y="0"/>
    </p:cViewPr>
  </p:notesTextViewPr>
  <p:sorterViewPr>
    <p:cViewPr>
      <p:scale>
        <a:sx n="33" d="100"/>
        <a:sy n="33" d="100"/>
      </p:scale>
      <p:origin x="0" y="0"/>
    </p:cViewPr>
  </p:sorterViewPr>
  <p:notesViewPr>
    <p:cSldViewPr snapToGrid="0">
      <p:cViewPr>
        <p:scale>
          <a:sx n="110" d="100"/>
          <a:sy n="110" d="100"/>
        </p:scale>
        <p:origin x="-1380" y="79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655AEB7-9414-4370-B30C-1B23F14C7819}" type="presOf" srcId="{DACF277F-3D1B-46EE-8010-4DA12B062423}" destId="{E799485A-A9A9-44FE-8B8B-C4710711D4BB}" srcOrd="0" destOrd="0" presId="urn:microsoft.com/office/officeart/2005/8/layout/cycle3"/>
    <dgm:cxn modelId="{2410433A-7447-47D0-A2C6-98D7E064C37D}" srcId="{C5D8BB84-0561-4309-84F3-DD9FFC77359F}" destId="{35E3635C-C619-45E7-A9F7-46221D5DF3A5}" srcOrd="3" destOrd="0" parTransId="{7F8A1E2C-5513-4830-9E13-01B253149C27}" sibTransId="{B631B5ED-02C2-42E9-B764-E4931DDB37D8}"/>
    <dgm:cxn modelId="{BACCE63C-DD9D-4193-A5C2-9AE2B36C96E7}" srcId="{C5D8BB84-0561-4309-84F3-DD9FFC77359F}" destId="{E30F26BC-678B-4AB6-9D29-BA99D0EC2BBD}" srcOrd="4" destOrd="0" parTransId="{FC1E3258-ABAC-4A4D-A7E4-F651C5E7B4D6}" sibTransId="{9582B48E-3510-49F1-A652-9C4122EA5E8B}"/>
    <dgm:cxn modelId="{2BE2C7BE-4A6D-4239-9E08-515C09946AE5}" srcId="{C5D8BB84-0561-4309-84F3-DD9FFC77359F}" destId="{DACF277F-3D1B-46EE-8010-4DA12B062423}" srcOrd="5" destOrd="0" parTransId="{AB2456B0-0E3A-49E3-8AD6-114823000B51}" sibTransId="{3DCE7BC7-5D21-419F-8DBF-1A300D14C128}"/>
    <dgm:cxn modelId="{978A7428-DC71-4728-87E4-996EA26AAE73}" type="presOf" srcId="{C149BF4C-87FE-45C1-BDB4-4DFE5C616605}" destId="{1E763684-8221-4BBC-AF24-B8B55BF120DA}" srcOrd="0" destOrd="0" presId="urn:microsoft.com/office/officeart/2005/8/layout/cycle3"/>
    <dgm:cxn modelId="{A8F4350F-5ECF-485A-8078-B141DD46AFB5}" type="presOf" srcId="{04D98304-F4B4-4A9A-8950-419B985EEDFD}" destId="{455F7366-7D9C-4DE7-B8EB-653DEDD27206}" srcOrd="0" destOrd="0" presId="urn:microsoft.com/office/officeart/2005/8/layout/cycle3"/>
    <dgm:cxn modelId="{660180E0-6EDE-4927-978B-153EE747B72E}" type="presOf" srcId="{35E3635C-C619-45E7-A9F7-46221D5DF3A5}" destId="{3920C4B2-D7C1-42B4-B76B-33700DCDF627}" srcOrd="0" destOrd="0" presId="urn:microsoft.com/office/officeart/2005/8/layout/cycle3"/>
    <dgm:cxn modelId="{4A2D1179-CF7D-41CA-AF67-4577EFC33C5C}" type="presOf" srcId="{8F51238D-C358-4D92-B012-BC2D447C2875}" destId="{AFBED32E-C73D-4A25-BE02-44170F373D35}"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8F6C13E0-16E2-45E4-B489-340BED900F58}" type="presOf" srcId="{C5D8BB84-0561-4309-84F3-DD9FFC77359F}" destId="{E9309630-4012-4920-8027-4893DD52BCC8}" srcOrd="0" destOrd="0" presId="urn:microsoft.com/office/officeart/2005/8/layout/cycle3"/>
    <dgm:cxn modelId="{D7726EBA-E089-4877-8992-81CBF1B283A3}" type="presOf" srcId="{B29E7981-9735-4FCF-BED5-AEAF8101815F}" destId="{ED8DEF44-EAA5-4BB8-87A7-7C641633305B}"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88489643-4BC3-4B7D-88BA-DABBD03CA431}" type="presOf" srcId="{E30F26BC-678B-4AB6-9D29-BA99D0EC2BBD}" destId="{1CAA9F8B-9D22-45A8-8432-7E1ADFE57909}" srcOrd="0" destOrd="0" presId="urn:microsoft.com/office/officeart/2005/8/layout/cycle3"/>
    <dgm:cxn modelId="{83EE6C90-5C11-4095-B02F-0E04583CFAE2}" type="presParOf" srcId="{E9309630-4012-4920-8027-4893DD52BCC8}" destId="{A0BE5199-981A-4D82-8C9D-0700C3C5A091}" srcOrd="0" destOrd="0" presId="urn:microsoft.com/office/officeart/2005/8/layout/cycle3"/>
    <dgm:cxn modelId="{E6AC25EF-F380-4FCF-A73A-13254EA9F46A}" type="presParOf" srcId="{A0BE5199-981A-4D82-8C9D-0700C3C5A091}" destId="{455F7366-7D9C-4DE7-B8EB-653DEDD27206}" srcOrd="0" destOrd="0" presId="urn:microsoft.com/office/officeart/2005/8/layout/cycle3"/>
    <dgm:cxn modelId="{404B4BB9-51AF-4060-8365-3BD90B1253C4}" type="presParOf" srcId="{A0BE5199-981A-4D82-8C9D-0700C3C5A091}" destId="{ED8DEF44-EAA5-4BB8-87A7-7C641633305B}" srcOrd="1" destOrd="0" presId="urn:microsoft.com/office/officeart/2005/8/layout/cycle3"/>
    <dgm:cxn modelId="{F3D4BFD1-DC03-429A-B8B9-A237BEBA7F4F}" type="presParOf" srcId="{A0BE5199-981A-4D82-8C9D-0700C3C5A091}" destId="{1E763684-8221-4BBC-AF24-B8B55BF120DA}" srcOrd="2" destOrd="0" presId="urn:microsoft.com/office/officeart/2005/8/layout/cycle3"/>
    <dgm:cxn modelId="{B825E7A0-6B33-456D-8CFB-428BC8D9DA10}" type="presParOf" srcId="{A0BE5199-981A-4D82-8C9D-0700C3C5A091}" destId="{AFBED32E-C73D-4A25-BE02-44170F373D35}" srcOrd="3" destOrd="0" presId="urn:microsoft.com/office/officeart/2005/8/layout/cycle3"/>
    <dgm:cxn modelId="{7F4BB940-B274-4D95-B046-D60344FD9A61}" type="presParOf" srcId="{A0BE5199-981A-4D82-8C9D-0700C3C5A091}" destId="{3920C4B2-D7C1-42B4-B76B-33700DCDF627}" srcOrd="4" destOrd="0" presId="urn:microsoft.com/office/officeart/2005/8/layout/cycle3"/>
    <dgm:cxn modelId="{8A690064-074A-4B58-8888-36A8CD33B9DE}" type="presParOf" srcId="{A0BE5199-981A-4D82-8C9D-0700C3C5A091}" destId="{1CAA9F8B-9D22-45A8-8432-7E1ADFE57909}" srcOrd="5" destOrd="0" presId="urn:microsoft.com/office/officeart/2005/8/layout/cycle3"/>
    <dgm:cxn modelId="{8C1466A2-00E9-4C44-8015-525FFC2B61C5}"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a:solidFill>
          <a:schemeClr val="bg1">
            <a:lumMod val="85000"/>
          </a:schemeClr>
        </a:solidFill>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F874D12E-2BD2-4473-AE70-F0CBF280EDEA}" type="presOf" srcId="{B29E7981-9735-4FCF-BED5-AEAF8101815F}" destId="{ED8DEF44-EAA5-4BB8-87A7-7C641633305B}" srcOrd="0" destOrd="0" presId="urn:microsoft.com/office/officeart/2005/8/layout/cycle3"/>
    <dgm:cxn modelId="{2410433A-7447-47D0-A2C6-98D7E064C37D}" srcId="{C5D8BB84-0561-4309-84F3-DD9FFC77359F}" destId="{35E3635C-C619-45E7-A9F7-46221D5DF3A5}" srcOrd="3" destOrd="0" parTransId="{7F8A1E2C-5513-4830-9E13-01B253149C27}" sibTransId="{B631B5ED-02C2-42E9-B764-E4931DDB37D8}"/>
    <dgm:cxn modelId="{85E88511-E706-4A79-933D-D5AFF87B474A}" type="presOf" srcId="{04D98304-F4B4-4A9A-8950-419B985EEDFD}" destId="{455F7366-7D9C-4DE7-B8EB-653DEDD27206}" srcOrd="0" destOrd="0" presId="urn:microsoft.com/office/officeart/2005/8/layout/cycle3"/>
    <dgm:cxn modelId="{BACCE63C-DD9D-4193-A5C2-9AE2B36C96E7}" srcId="{C5D8BB84-0561-4309-84F3-DD9FFC77359F}" destId="{E30F26BC-678B-4AB6-9D29-BA99D0EC2BBD}" srcOrd="4" destOrd="0" parTransId="{FC1E3258-ABAC-4A4D-A7E4-F651C5E7B4D6}" sibTransId="{9582B48E-3510-49F1-A652-9C4122EA5E8B}"/>
    <dgm:cxn modelId="{2BE2C7BE-4A6D-4239-9E08-515C09946AE5}" srcId="{C5D8BB84-0561-4309-84F3-DD9FFC77359F}" destId="{DACF277F-3D1B-46EE-8010-4DA12B062423}" srcOrd="5" destOrd="0" parTransId="{AB2456B0-0E3A-49E3-8AD6-114823000B51}" sibTransId="{3DCE7BC7-5D21-419F-8DBF-1A300D14C128}"/>
    <dgm:cxn modelId="{36F4E93E-7C17-41F4-8214-415AEE673E12}" type="presOf" srcId="{8F51238D-C358-4D92-B012-BC2D447C2875}" destId="{AFBED32E-C73D-4A25-BE02-44170F373D35}" srcOrd="0" destOrd="0" presId="urn:microsoft.com/office/officeart/2005/8/layout/cycle3"/>
    <dgm:cxn modelId="{1B613DB0-0448-4AD4-BAC3-4997644837A1}" type="presOf" srcId="{35E3635C-C619-45E7-A9F7-46221D5DF3A5}" destId="{3920C4B2-D7C1-42B4-B76B-33700DCDF627}" srcOrd="0" destOrd="0" presId="urn:microsoft.com/office/officeart/2005/8/layout/cycle3"/>
    <dgm:cxn modelId="{888A77BD-768A-4262-87C5-B7641E5263E6}" type="presOf" srcId="{C149BF4C-87FE-45C1-BDB4-4DFE5C616605}" destId="{1E763684-8221-4BBC-AF24-B8B55BF120DA}" srcOrd="0" destOrd="0" presId="urn:microsoft.com/office/officeart/2005/8/layout/cycle3"/>
    <dgm:cxn modelId="{B2D6057C-D7B5-49FB-ABDD-FF96C3D9F9AA}" type="presOf" srcId="{C5D8BB84-0561-4309-84F3-DD9FFC77359F}" destId="{E9309630-4012-4920-8027-4893DD52BCC8}" srcOrd="0" destOrd="0" presId="urn:microsoft.com/office/officeart/2005/8/layout/cycle3"/>
    <dgm:cxn modelId="{F33C0C46-D617-46E7-8A8E-B7CD22CB1E01}" type="presOf" srcId="{DACF277F-3D1B-46EE-8010-4DA12B062423}" destId="{E799485A-A9A9-44FE-8B8B-C4710711D4BB}" srcOrd="0" destOrd="0" presId="urn:microsoft.com/office/officeart/2005/8/layout/cycle3"/>
    <dgm:cxn modelId="{607A914A-8E0E-4AED-B925-CD6B4D91A1BD}" type="presOf" srcId="{E30F26BC-678B-4AB6-9D29-BA99D0EC2BBD}" destId="{1CAA9F8B-9D22-45A8-8432-7E1ADFE57909}"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36D12B84-F29E-45E7-96AC-73035B5CA0A7}" type="presParOf" srcId="{E9309630-4012-4920-8027-4893DD52BCC8}" destId="{A0BE5199-981A-4D82-8C9D-0700C3C5A091}" srcOrd="0" destOrd="0" presId="urn:microsoft.com/office/officeart/2005/8/layout/cycle3"/>
    <dgm:cxn modelId="{B65F3FF3-13B5-4950-93DA-16727799D544}" type="presParOf" srcId="{A0BE5199-981A-4D82-8C9D-0700C3C5A091}" destId="{455F7366-7D9C-4DE7-B8EB-653DEDD27206}" srcOrd="0" destOrd="0" presId="urn:microsoft.com/office/officeart/2005/8/layout/cycle3"/>
    <dgm:cxn modelId="{BA2119F5-4BA5-4467-AADA-C3DEA441151C}" type="presParOf" srcId="{A0BE5199-981A-4D82-8C9D-0700C3C5A091}" destId="{ED8DEF44-EAA5-4BB8-87A7-7C641633305B}" srcOrd="1" destOrd="0" presId="urn:microsoft.com/office/officeart/2005/8/layout/cycle3"/>
    <dgm:cxn modelId="{12B5C7F6-5C60-4B85-858E-44D092EB81CB}" type="presParOf" srcId="{A0BE5199-981A-4D82-8C9D-0700C3C5A091}" destId="{1E763684-8221-4BBC-AF24-B8B55BF120DA}" srcOrd="2" destOrd="0" presId="urn:microsoft.com/office/officeart/2005/8/layout/cycle3"/>
    <dgm:cxn modelId="{A175C94E-804C-487C-89F9-CA8995BB5506}" type="presParOf" srcId="{A0BE5199-981A-4D82-8C9D-0700C3C5A091}" destId="{AFBED32E-C73D-4A25-BE02-44170F373D35}" srcOrd="3" destOrd="0" presId="urn:microsoft.com/office/officeart/2005/8/layout/cycle3"/>
    <dgm:cxn modelId="{27AFEE5A-A8D0-443F-8BAC-4496CF6A512F}" type="presParOf" srcId="{A0BE5199-981A-4D82-8C9D-0700C3C5A091}" destId="{3920C4B2-D7C1-42B4-B76B-33700DCDF627}" srcOrd="4" destOrd="0" presId="urn:microsoft.com/office/officeart/2005/8/layout/cycle3"/>
    <dgm:cxn modelId="{FB4FDD01-8044-4E51-8751-9E2DD7F00C20}" type="presParOf" srcId="{A0BE5199-981A-4D82-8C9D-0700C3C5A091}" destId="{1CAA9F8B-9D22-45A8-8432-7E1ADFE57909}" srcOrd="5" destOrd="0" presId="urn:microsoft.com/office/officeart/2005/8/layout/cycle3"/>
    <dgm:cxn modelId="{EE02AA7E-2C6B-4CE7-B8AB-28982322F67A}"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a:solidFill>
          <a:schemeClr val="bg1">
            <a:lumMod val="85000"/>
          </a:schemeClr>
        </a:solidFill>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CFFB832A-A43F-4DFB-847D-E96319EDBF59}" srcId="{C5D8BB84-0561-4309-84F3-DD9FFC77359F}" destId="{C149BF4C-87FE-45C1-BDB4-4DFE5C616605}" srcOrd="1" destOrd="0" parTransId="{092FF9BB-A881-4919-B9F4-8BA4A07A8895}" sibTransId="{8CA49A43-13BE-47E2-9061-5B74E3F2FEE7}"/>
    <dgm:cxn modelId="{DEC160B1-0E0A-4DA1-884C-F9929FAE0793}" type="presOf" srcId="{8F51238D-C358-4D92-B012-BC2D447C2875}" destId="{AFBED32E-C73D-4A25-BE02-44170F373D35}" srcOrd="0" destOrd="0" presId="urn:microsoft.com/office/officeart/2005/8/layout/cycle3"/>
    <dgm:cxn modelId="{EA1FBB96-EDBA-49B9-907F-BBF3008FC3B0}" type="presOf" srcId="{35E3635C-C619-45E7-A9F7-46221D5DF3A5}" destId="{3920C4B2-D7C1-42B4-B76B-33700DCDF627}" srcOrd="0" destOrd="0" presId="urn:microsoft.com/office/officeart/2005/8/layout/cycle3"/>
    <dgm:cxn modelId="{F5180B08-C152-4E33-BC58-C31F91CF2D8D}" type="presOf" srcId="{C149BF4C-87FE-45C1-BDB4-4DFE5C616605}" destId="{1E763684-8221-4BBC-AF24-B8B55BF120DA}" srcOrd="0" destOrd="0" presId="urn:microsoft.com/office/officeart/2005/8/layout/cycle3"/>
    <dgm:cxn modelId="{2410433A-7447-47D0-A2C6-98D7E064C37D}" srcId="{C5D8BB84-0561-4309-84F3-DD9FFC77359F}" destId="{35E3635C-C619-45E7-A9F7-46221D5DF3A5}" srcOrd="3" destOrd="0" parTransId="{7F8A1E2C-5513-4830-9E13-01B253149C27}" sibTransId="{B631B5ED-02C2-42E9-B764-E4931DDB37D8}"/>
    <dgm:cxn modelId="{C7339A65-927D-4CC7-82C1-08B0B57AEF4B}" type="presOf" srcId="{E30F26BC-678B-4AB6-9D29-BA99D0EC2BBD}" destId="{1CAA9F8B-9D22-45A8-8432-7E1ADFE57909}"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BE7A6F06-8DE8-49D1-A575-177CC4619C6E}" type="presOf" srcId="{DACF277F-3D1B-46EE-8010-4DA12B062423}" destId="{E799485A-A9A9-44FE-8B8B-C4710711D4BB}" srcOrd="0" destOrd="0" presId="urn:microsoft.com/office/officeart/2005/8/layout/cycle3"/>
    <dgm:cxn modelId="{B93ACF68-09C6-4557-BCEF-5B549E1CDED1}" type="presOf" srcId="{C5D8BB84-0561-4309-84F3-DD9FFC77359F}" destId="{E9309630-4012-4920-8027-4893DD52BCC8}" srcOrd="0" destOrd="0" presId="urn:microsoft.com/office/officeart/2005/8/layout/cycle3"/>
    <dgm:cxn modelId="{D00B32D1-4F47-4352-9368-B0BBFC4B6751}" type="presOf" srcId="{04D98304-F4B4-4A9A-8950-419B985EEDFD}" destId="{455F7366-7D9C-4DE7-B8EB-653DEDD27206}" srcOrd="0" destOrd="0" presId="urn:microsoft.com/office/officeart/2005/8/layout/cycle3"/>
    <dgm:cxn modelId="{49176E61-152B-4A76-BA9D-8E13B5D812FD}" type="presOf" srcId="{B29E7981-9735-4FCF-BED5-AEAF8101815F}" destId="{ED8DEF44-EAA5-4BB8-87A7-7C641633305B}" srcOrd="0" destOrd="0" presId="urn:microsoft.com/office/officeart/2005/8/layout/cycle3"/>
    <dgm:cxn modelId="{BACCE63C-DD9D-4193-A5C2-9AE2B36C96E7}" srcId="{C5D8BB84-0561-4309-84F3-DD9FFC77359F}" destId="{E30F26BC-678B-4AB6-9D29-BA99D0EC2BBD}" srcOrd="4" destOrd="0" parTransId="{FC1E3258-ABAC-4A4D-A7E4-F651C5E7B4D6}" sibTransId="{9582B48E-3510-49F1-A652-9C4122EA5E8B}"/>
    <dgm:cxn modelId="{2BE2C7BE-4A6D-4239-9E08-515C09946AE5}" srcId="{C5D8BB84-0561-4309-84F3-DD9FFC77359F}" destId="{DACF277F-3D1B-46EE-8010-4DA12B062423}" srcOrd="5" destOrd="0" parTransId="{AB2456B0-0E3A-49E3-8AD6-114823000B51}" sibTransId="{3DCE7BC7-5D21-419F-8DBF-1A300D14C128}"/>
    <dgm:cxn modelId="{A805648D-65FA-4B22-9337-01B232BD27C6}" srcId="{C5D8BB84-0561-4309-84F3-DD9FFC77359F}" destId="{04D98304-F4B4-4A9A-8950-419B985EEDFD}" srcOrd="0" destOrd="0" parTransId="{BBA4ADE9-776B-4987-9E04-AC61364F7622}" sibTransId="{B29E7981-9735-4FCF-BED5-AEAF8101815F}"/>
    <dgm:cxn modelId="{13BC3AB0-4461-450E-9A46-73ED8B906575}" type="presParOf" srcId="{E9309630-4012-4920-8027-4893DD52BCC8}" destId="{A0BE5199-981A-4D82-8C9D-0700C3C5A091}" srcOrd="0" destOrd="0" presId="urn:microsoft.com/office/officeart/2005/8/layout/cycle3"/>
    <dgm:cxn modelId="{574F48CF-E464-4E22-BB11-D2AF3FAE049F}" type="presParOf" srcId="{A0BE5199-981A-4D82-8C9D-0700C3C5A091}" destId="{455F7366-7D9C-4DE7-B8EB-653DEDD27206}" srcOrd="0" destOrd="0" presId="urn:microsoft.com/office/officeart/2005/8/layout/cycle3"/>
    <dgm:cxn modelId="{21F0E2F0-70BF-480B-B713-4534FF6FF28C}" type="presParOf" srcId="{A0BE5199-981A-4D82-8C9D-0700C3C5A091}" destId="{ED8DEF44-EAA5-4BB8-87A7-7C641633305B}" srcOrd="1" destOrd="0" presId="urn:microsoft.com/office/officeart/2005/8/layout/cycle3"/>
    <dgm:cxn modelId="{3D546FFC-5999-4E7D-AFE9-D9B1E1C95BB4}" type="presParOf" srcId="{A0BE5199-981A-4D82-8C9D-0700C3C5A091}" destId="{1E763684-8221-4BBC-AF24-B8B55BF120DA}" srcOrd="2" destOrd="0" presId="urn:microsoft.com/office/officeart/2005/8/layout/cycle3"/>
    <dgm:cxn modelId="{1CADA3D5-74C0-4A9A-B681-36D407331833}" type="presParOf" srcId="{A0BE5199-981A-4D82-8C9D-0700C3C5A091}" destId="{AFBED32E-C73D-4A25-BE02-44170F373D35}" srcOrd="3" destOrd="0" presId="urn:microsoft.com/office/officeart/2005/8/layout/cycle3"/>
    <dgm:cxn modelId="{8EE0997D-809F-44F5-BB1C-C7F89DB1F005}" type="presParOf" srcId="{A0BE5199-981A-4D82-8C9D-0700C3C5A091}" destId="{3920C4B2-D7C1-42B4-B76B-33700DCDF627}" srcOrd="4" destOrd="0" presId="urn:microsoft.com/office/officeart/2005/8/layout/cycle3"/>
    <dgm:cxn modelId="{DB6872E4-CA97-49AC-90E8-DE881D336FAC}" type="presParOf" srcId="{A0BE5199-981A-4D82-8C9D-0700C3C5A091}" destId="{1CAA9F8B-9D22-45A8-8432-7E1ADFE57909}" srcOrd="5" destOrd="0" presId="urn:microsoft.com/office/officeart/2005/8/layout/cycle3"/>
    <dgm:cxn modelId="{6C32B80A-CCE2-46C3-9ED1-045457007F33}"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a:solidFill>
          <a:schemeClr val="bg1">
            <a:lumMod val="85000"/>
          </a:schemeClr>
        </a:solidFill>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410433A-7447-47D0-A2C6-98D7E064C37D}" srcId="{C5D8BB84-0561-4309-84F3-DD9FFC77359F}" destId="{35E3635C-C619-45E7-A9F7-46221D5DF3A5}" srcOrd="3" destOrd="0" parTransId="{7F8A1E2C-5513-4830-9E13-01B253149C27}" sibTransId="{B631B5ED-02C2-42E9-B764-E4931DDB37D8}"/>
    <dgm:cxn modelId="{BACCE63C-DD9D-4193-A5C2-9AE2B36C96E7}" srcId="{C5D8BB84-0561-4309-84F3-DD9FFC77359F}" destId="{E30F26BC-678B-4AB6-9D29-BA99D0EC2BBD}" srcOrd="4" destOrd="0" parTransId="{FC1E3258-ABAC-4A4D-A7E4-F651C5E7B4D6}" sibTransId="{9582B48E-3510-49F1-A652-9C4122EA5E8B}"/>
    <dgm:cxn modelId="{FA79940D-FC61-487A-8094-F6857937F392}" type="presOf" srcId="{04D98304-F4B4-4A9A-8950-419B985EEDFD}" destId="{455F7366-7D9C-4DE7-B8EB-653DEDD27206}" srcOrd="0" destOrd="0" presId="urn:microsoft.com/office/officeart/2005/8/layout/cycle3"/>
    <dgm:cxn modelId="{90F72371-2438-4350-A20E-826593407D55}" type="presOf" srcId="{B29E7981-9735-4FCF-BED5-AEAF8101815F}" destId="{ED8DEF44-EAA5-4BB8-87A7-7C641633305B}" srcOrd="0" destOrd="0" presId="urn:microsoft.com/office/officeart/2005/8/layout/cycle3"/>
    <dgm:cxn modelId="{2BE2C7BE-4A6D-4239-9E08-515C09946AE5}" srcId="{C5D8BB84-0561-4309-84F3-DD9FFC77359F}" destId="{DACF277F-3D1B-46EE-8010-4DA12B062423}" srcOrd="5" destOrd="0" parTransId="{AB2456B0-0E3A-49E3-8AD6-114823000B51}" sibTransId="{3DCE7BC7-5D21-419F-8DBF-1A300D14C128}"/>
    <dgm:cxn modelId="{B399D0B6-3048-40D6-9E2D-B80954B88B0B}" type="presOf" srcId="{8F51238D-C358-4D92-B012-BC2D447C2875}" destId="{AFBED32E-C73D-4A25-BE02-44170F373D35}" srcOrd="0" destOrd="0" presId="urn:microsoft.com/office/officeart/2005/8/layout/cycle3"/>
    <dgm:cxn modelId="{71F0CCA3-F2D5-4D4B-9D42-E67F8CC55562}" type="presOf" srcId="{E30F26BC-678B-4AB6-9D29-BA99D0EC2BBD}" destId="{1CAA9F8B-9D22-45A8-8432-7E1ADFE57909}" srcOrd="0" destOrd="0" presId="urn:microsoft.com/office/officeart/2005/8/layout/cycle3"/>
    <dgm:cxn modelId="{2E1DCB52-0295-4FC3-9852-B4422B7EE9D1}" type="presOf" srcId="{35E3635C-C619-45E7-A9F7-46221D5DF3A5}" destId="{3920C4B2-D7C1-42B4-B76B-33700DCDF627}"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38E879DF-B5CD-47CB-B4BF-276526D4CE20}" type="presOf" srcId="{C149BF4C-87FE-45C1-BDB4-4DFE5C616605}" destId="{1E763684-8221-4BBC-AF24-B8B55BF120DA}" srcOrd="0" destOrd="0" presId="urn:microsoft.com/office/officeart/2005/8/layout/cycle3"/>
    <dgm:cxn modelId="{5F3532D1-65A9-44E9-B247-A23E09A25783}" type="presOf" srcId="{DACF277F-3D1B-46EE-8010-4DA12B062423}" destId="{E799485A-A9A9-44FE-8B8B-C4710711D4BB}"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835FA689-21A0-47C2-A7EE-61E65C4089B6}" type="presOf" srcId="{C5D8BB84-0561-4309-84F3-DD9FFC77359F}" destId="{E9309630-4012-4920-8027-4893DD52BCC8}" srcOrd="0" destOrd="0" presId="urn:microsoft.com/office/officeart/2005/8/layout/cycle3"/>
    <dgm:cxn modelId="{B3889A1D-391C-47C5-8977-8EBAECEA306B}" type="presParOf" srcId="{E9309630-4012-4920-8027-4893DD52BCC8}" destId="{A0BE5199-981A-4D82-8C9D-0700C3C5A091}" srcOrd="0" destOrd="0" presId="urn:microsoft.com/office/officeart/2005/8/layout/cycle3"/>
    <dgm:cxn modelId="{33205995-C7C0-44F2-BBFA-5A9AA863491E}" type="presParOf" srcId="{A0BE5199-981A-4D82-8C9D-0700C3C5A091}" destId="{455F7366-7D9C-4DE7-B8EB-653DEDD27206}" srcOrd="0" destOrd="0" presId="urn:microsoft.com/office/officeart/2005/8/layout/cycle3"/>
    <dgm:cxn modelId="{C55B0DC9-265B-44C7-9CFA-77C8805A5F75}" type="presParOf" srcId="{A0BE5199-981A-4D82-8C9D-0700C3C5A091}" destId="{ED8DEF44-EAA5-4BB8-87A7-7C641633305B}" srcOrd="1" destOrd="0" presId="urn:microsoft.com/office/officeart/2005/8/layout/cycle3"/>
    <dgm:cxn modelId="{1B1F7FE1-0CBB-4694-88BB-F55D6399C5B4}" type="presParOf" srcId="{A0BE5199-981A-4D82-8C9D-0700C3C5A091}" destId="{1E763684-8221-4BBC-AF24-B8B55BF120DA}" srcOrd="2" destOrd="0" presId="urn:microsoft.com/office/officeart/2005/8/layout/cycle3"/>
    <dgm:cxn modelId="{CC90A602-965F-435F-873D-8D7573DFCF8F}" type="presParOf" srcId="{A0BE5199-981A-4D82-8C9D-0700C3C5A091}" destId="{AFBED32E-C73D-4A25-BE02-44170F373D35}" srcOrd="3" destOrd="0" presId="urn:microsoft.com/office/officeart/2005/8/layout/cycle3"/>
    <dgm:cxn modelId="{46BE46CB-8939-498E-BDD2-8D9F30B68084}" type="presParOf" srcId="{A0BE5199-981A-4D82-8C9D-0700C3C5A091}" destId="{3920C4B2-D7C1-42B4-B76B-33700DCDF627}" srcOrd="4" destOrd="0" presId="urn:microsoft.com/office/officeart/2005/8/layout/cycle3"/>
    <dgm:cxn modelId="{8732AABB-3B3C-4B7A-A779-1957594F32EA}" type="presParOf" srcId="{A0BE5199-981A-4D82-8C9D-0700C3C5A091}" destId="{1CAA9F8B-9D22-45A8-8432-7E1ADFE57909}" srcOrd="5" destOrd="0" presId="urn:microsoft.com/office/officeart/2005/8/layout/cycle3"/>
    <dgm:cxn modelId="{BFE49884-CE1C-4E03-9DE6-CA1F48E91D20}"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410433A-7447-47D0-A2C6-98D7E064C37D}" srcId="{C5D8BB84-0561-4309-84F3-DD9FFC77359F}" destId="{35E3635C-C619-45E7-A9F7-46221D5DF3A5}" srcOrd="3" destOrd="0" parTransId="{7F8A1E2C-5513-4830-9E13-01B253149C27}" sibTransId="{B631B5ED-02C2-42E9-B764-E4931DDB37D8}"/>
    <dgm:cxn modelId="{BACCE63C-DD9D-4193-A5C2-9AE2B36C96E7}" srcId="{C5D8BB84-0561-4309-84F3-DD9FFC77359F}" destId="{E30F26BC-678B-4AB6-9D29-BA99D0EC2BBD}" srcOrd="4" destOrd="0" parTransId="{FC1E3258-ABAC-4A4D-A7E4-F651C5E7B4D6}" sibTransId="{9582B48E-3510-49F1-A652-9C4122EA5E8B}"/>
    <dgm:cxn modelId="{0DDE2DD7-3B3D-468B-A9B7-9DDB4882CDD7}" type="presOf" srcId="{35E3635C-C619-45E7-A9F7-46221D5DF3A5}" destId="{3920C4B2-D7C1-42B4-B76B-33700DCDF627}" srcOrd="0" destOrd="0" presId="urn:microsoft.com/office/officeart/2005/8/layout/cycle3"/>
    <dgm:cxn modelId="{2BE2C7BE-4A6D-4239-9E08-515C09946AE5}" srcId="{C5D8BB84-0561-4309-84F3-DD9FFC77359F}" destId="{DACF277F-3D1B-46EE-8010-4DA12B062423}" srcOrd="5" destOrd="0" parTransId="{AB2456B0-0E3A-49E3-8AD6-114823000B51}" sibTransId="{3DCE7BC7-5D21-419F-8DBF-1A300D14C128}"/>
    <dgm:cxn modelId="{643BC036-74F1-4A87-9291-8887576693AA}" type="presOf" srcId="{DACF277F-3D1B-46EE-8010-4DA12B062423}" destId="{E799485A-A9A9-44FE-8B8B-C4710711D4BB}" srcOrd="0" destOrd="0" presId="urn:microsoft.com/office/officeart/2005/8/layout/cycle3"/>
    <dgm:cxn modelId="{031008CB-BF41-4EAF-A8BE-E1281B5A8A90}" type="presOf" srcId="{C149BF4C-87FE-45C1-BDB4-4DFE5C616605}" destId="{1E763684-8221-4BBC-AF24-B8B55BF120DA}" srcOrd="0" destOrd="0" presId="urn:microsoft.com/office/officeart/2005/8/layout/cycle3"/>
    <dgm:cxn modelId="{FE6C3F14-7043-49CD-9C50-EF59ABF6B5A0}" type="presOf" srcId="{E30F26BC-678B-4AB6-9D29-BA99D0EC2BBD}" destId="{1CAA9F8B-9D22-45A8-8432-7E1ADFE57909}" srcOrd="0" destOrd="0" presId="urn:microsoft.com/office/officeart/2005/8/layout/cycle3"/>
    <dgm:cxn modelId="{9C900006-A789-455F-80CA-68F74F5828C9}" type="presOf" srcId="{8F51238D-C358-4D92-B012-BC2D447C2875}" destId="{AFBED32E-C73D-4A25-BE02-44170F373D35}"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EA7B506D-DFBC-4258-9893-D7FF7AB666C3}" type="presOf" srcId="{C5D8BB84-0561-4309-84F3-DD9FFC77359F}" destId="{E9309630-4012-4920-8027-4893DD52BCC8}"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33066F27-3A8C-44E0-8A44-B211A8F24795}" type="presOf" srcId="{B29E7981-9735-4FCF-BED5-AEAF8101815F}" destId="{ED8DEF44-EAA5-4BB8-87A7-7C641633305B}" srcOrd="0" destOrd="0" presId="urn:microsoft.com/office/officeart/2005/8/layout/cycle3"/>
    <dgm:cxn modelId="{A805648D-65FA-4B22-9337-01B232BD27C6}" srcId="{C5D8BB84-0561-4309-84F3-DD9FFC77359F}" destId="{04D98304-F4B4-4A9A-8950-419B985EEDFD}" srcOrd="0" destOrd="0" parTransId="{BBA4ADE9-776B-4987-9E04-AC61364F7622}" sibTransId="{B29E7981-9735-4FCF-BED5-AEAF8101815F}"/>
    <dgm:cxn modelId="{B64CC880-460A-4E16-A33D-B0B959837381}" type="presOf" srcId="{04D98304-F4B4-4A9A-8950-419B985EEDFD}" destId="{455F7366-7D9C-4DE7-B8EB-653DEDD27206}" srcOrd="0" destOrd="0" presId="urn:microsoft.com/office/officeart/2005/8/layout/cycle3"/>
    <dgm:cxn modelId="{9EAC0F81-A46E-4A31-A906-3E717FA1B8BF}" type="presParOf" srcId="{E9309630-4012-4920-8027-4893DD52BCC8}" destId="{A0BE5199-981A-4D82-8C9D-0700C3C5A091}" srcOrd="0" destOrd="0" presId="urn:microsoft.com/office/officeart/2005/8/layout/cycle3"/>
    <dgm:cxn modelId="{4B9BCB29-A796-4C96-A813-DDDD326CC17C}" type="presParOf" srcId="{A0BE5199-981A-4D82-8C9D-0700C3C5A091}" destId="{455F7366-7D9C-4DE7-B8EB-653DEDD27206}" srcOrd="0" destOrd="0" presId="urn:microsoft.com/office/officeart/2005/8/layout/cycle3"/>
    <dgm:cxn modelId="{D117747B-033B-40B0-802F-21D1C7FC511D}" type="presParOf" srcId="{A0BE5199-981A-4D82-8C9D-0700C3C5A091}" destId="{ED8DEF44-EAA5-4BB8-87A7-7C641633305B}" srcOrd="1" destOrd="0" presId="urn:microsoft.com/office/officeart/2005/8/layout/cycle3"/>
    <dgm:cxn modelId="{940D4878-9099-4E95-8D08-C4E2FE5EEFF3}" type="presParOf" srcId="{A0BE5199-981A-4D82-8C9D-0700C3C5A091}" destId="{1E763684-8221-4BBC-AF24-B8B55BF120DA}" srcOrd="2" destOrd="0" presId="urn:microsoft.com/office/officeart/2005/8/layout/cycle3"/>
    <dgm:cxn modelId="{5F9F4189-6C91-4B11-A5DB-FFEC32490166}" type="presParOf" srcId="{A0BE5199-981A-4D82-8C9D-0700C3C5A091}" destId="{AFBED32E-C73D-4A25-BE02-44170F373D35}" srcOrd="3" destOrd="0" presId="urn:microsoft.com/office/officeart/2005/8/layout/cycle3"/>
    <dgm:cxn modelId="{9F266276-33E3-491B-A3BF-8D86675B0F3D}" type="presParOf" srcId="{A0BE5199-981A-4D82-8C9D-0700C3C5A091}" destId="{3920C4B2-D7C1-42B4-B76B-33700DCDF627}" srcOrd="4" destOrd="0" presId="urn:microsoft.com/office/officeart/2005/8/layout/cycle3"/>
    <dgm:cxn modelId="{EDC74C9A-A4C0-4886-A86F-C52EA6768323}" type="presParOf" srcId="{A0BE5199-981A-4D82-8C9D-0700C3C5A091}" destId="{1CAA9F8B-9D22-45A8-8432-7E1ADFE57909}" srcOrd="5" destOrd="0" presId="urn:microsoft.com/office/officeart/2005/8/layout/cycle3"/>
    <dgm:cxn modelId="{26C200AC-1197-4A93-BC55-EA4F32911D33}"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410433A-7447-47D0-A2C6-98D7E064C37D}" srcId="{C5D8BB84-0561-4309-84F3-DD9FFC77359F}" destId="{35E3635C-C619-45E7-A9F7-46221D5DF3A5}" srcOrd="3" destOrd="0" parTransId="{7F8A1E2C-5513-4830-9E13-01B253149C27}" sibTransId="{B631B5ED-02C2-42E9-B764-E4931DDB37D8}"/>
    <dgm:cxn modelId="{EC9BA992-8530-432C-B96B-1954914A8237}" type="presOf" srcId="{B29E7981-9735-4FCF-BED5-AEAF8101815F}" destId="{ED8DEF44-EAA5-4BB8-87A7-7C641633305B}" srcOrd="0" destOrd="0" presId="urn:microsoft.com/office/officeart/2005/8/layout/cycle3"/>
    <dgm:cxn modelId="{BACCE63C-DD9D-4193-A5C2-9AE2B36C96E7}" srcId="{C5D8BB84-0561-4309-84F3-DD9FFC77359F}" destId="{E30F26BC-678B-4AB6-9D29-BA99D0EC2BBD}" srcOrd="4" destOrd="0" parTransId="{FC1E3258-ABAC-4A4D-A7E4-F651C5E7B4D6}" sibTransId="{9582B48E-3510-49F1-A652-9C4122EA5E8B}"/>
    <dgm:cxn modelId="{47DCA3C0-8A0F-48E3-BD1C-717333C10D4C}" type="presOf" srcId="{DACF277F-3D1B-46EE-8010-4DA12B062423}" destId="{E799485A-A9A9-44FE-8B8B-C4710711D4BB}" srcOrd="0" destOrd="0" presId="urn:microsoft.com/office/officeart/2005/8/layout/cycle3"/>
    <dgm:cxn modelId="{16D648CB-AC67-4FF6-8854-F85C477D42B7}" type="presOf" srcId="{E30F26BC-678B-4AB6-9D29-BA99D0EC2BBD}" destId="{1CAA9F8B-9D22-45A8-8432-7E1ADFE57909}" srcOrd="0" destOrd="0" presId="urn:microsoft.com/office/officeart/2005/8/layout/cycle3"/>
    <dgm:cxn modelId="{2BE2C7BE-4A6D-4239-9E08-515C09946AE5}" srcId="{C5D8BB84-0561-4309-84F3-DD9FFC77359F}" destId="{DACF277F-3D1B-46EE-8010-4DA12B062423}" srcOrd="5" destOrd="0" parTransId="{AB2456B0-0E3A-49E3-8AD6-114823000B51}" sibTransId="{3DCE7BC7-5D21-419F-8DBF-1A300D14C128}"/>
    <dgm:cxn modelId="{0BA5E3A6-B00A-4963-B304-368D4B6525E0}" type="presOf" srcId="{04D98304-F4B4-4A9A-8950-419B985EEDFD}" destId="{455F7366-7D9C-4DE7-B8EB-653DEDD27206}"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E8F188FB-E81E-4BA4-9B86-9621D1EEC542}" type="presOf" srcId="{35E3635C-C619-45E7-A9F7-46221D5DF3A5}" destId="{3920C4B2-D7C1-42B4-B76B-33700DCDF627}" srcOrd="0" destOrd="0" presId="urn:microsoft.com/office/officeart/2005/8/layout/cycle3"/>
    <dgm:cxn modelId="{19E5A3F6-B89A-4263-983B-DB4FAF397BF1}" type="presOf" srcId="{8F51238D-C358-4D92-B012-BC2D447C2875}" destId="{AFBED32E-C73D-4A25-BE02-44170F373D35}" srcOrd="0" destOrd="0" presId="urn:microsoft.com/office/officeart/2005/8/layout/cycle3"/>
    <dgm:cxn modelId="{AFB462B3-60A2-4462-9EED-7E8B0AE4564F}" type="presOf" srcId="{C5D8BB84-0561-4309-84F3-DD9FFC77359F}" destId="{E9309630-4012-4920-8027-4893DD52BCC8}"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30ADE5BC-352A-4BDA-8386-A01A703AB981}" type="presOf" srcId="{C149BF4C-87FE-45C1-BDB4-4DFE5C616605}" destId="{1E763684-8221-4BBC-AF24-B8B55BF120DA}" srcOrd="0" destOrd="0" presId="urn:microsoft.com/office/officeart/2005/8/layout/cycle3"/>
    <dgm:cxn modelId="{9AAFB4B4-AE8E-474F-9A6B-12407F3C6A59}" type="presParOf" srcId="{E9309630-4012-4920-8027-4893DD52BCC8}" destId="{A0BE5199-981A-4D82-8C9D-0700C3C5A091}" srcOrd="0" destOrd="0" presId="urn:microsoft.com/office/officeart/2005/8/layout/cycle3"/>
    <dgm:cxn modelId="{93490DCF-3334-4DA1-8C0B-0F02FACD0E12}" type="presParOf" srcId="{A0BE5199-981A-4D82-8C9D-0700C3C5A091}" destId="{455F7366-7D9C-4DE7-B8EB-653DEDD27206}" srcOrd="0" destOrd="0" presId="urn:microsoft.com/office/officeart/2005/8/layout/cycle3"/>
    <dgm:cxn modelId="{294E6BF8-A843-476A-B565-3B04BB04F938}" type="presParOf" srcId="{A0BE5199-981A-4D82-8C9D-0700C3C5A091}" destId="{ED8DEF44-EAA5-4BB8-87A7-7C641633305B}" srcOrd="1" destOrd="0" presId="urn:microsoft.com/office/officeart/2005/8/layout/cycle3"/>
    <dgm:cxn modelId="{D8FCA6EA-8699-421A-B816-DD123ABD4705}" type="presParOf" srcId="{A0BE5199-981A-4D82-8C9D-0700C3C5A091}" destId="{1E763684-8221-4BBC-AF24-B8B55BF120DA}" srcOrd="2" destOrd="0" presId="urn:microsoft.com/office/officeart/2005/8/layout/cycle3"/>
    <dgm:cxn modelId="{2877C8CE-9D92-4004-98F4-D3CEFD3F7929}" type="presParOf" srcId="{A0BE5199-981A-4D82-8C9D-0700C3C5A091}" destId="{AFBED32E-C73D-4A25-BE02-44170F373D35}" srcOrd="3" destOrd="0" presId="urn:microsoft.com/office/officeart/2005/8/layout/cycle3"/>
    <dgm:cxn modelId="{67F4B57B-94E2-485C-83A8-55CEBB21F8D3}" type="presParOf" srcId="{A0BE5199-981A-4D82-8C9D-0700C3C5A091}" destId="{3920C4B2-D7C1-42B4-B76B-33700DCDF627}" srcOrd="4" destOrd="0" presId="urn:microsoft.com/office/officeart/2005/8/layout/cycle3"/>
    <dgm:cxn modelId="{A0D1798D-18AD-4690-A289-8DB01F592CA5}" type="presParOf" srcId="{A0BE5199-981A-4D82-8C9D-0700C3C5A091}" destId="{1CAA9F8B-9D22-45A8-8432-7E1ADFE57909}" srcOrd="5" destOrd="0" presId="urn:microsoft.com/office/officeart/2005/8/layout/cycle3"/>
    <dgm:cxn modelId="{4C90E1BB-3AD4-42DA-ABAD-189355122917}"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a:solidFill>
          <a:schemeClr val="bg1">
            <a:lumMod val="85000"/>
          </a:schemeClr>
        </a:solidFill>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a:solidFill>
          <a:schemeClr val="bg1">
            <a:lumMod val="85000"/>
          </a:schemeClr>
        </a:solidFill>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410433A-7447-47D0-A2C6-98D7E064C37D}" srcId="{C5D8BB84-0561-4309-84F3-DD9FFC77359F}" destId="{35E3635C-C619-45E7-A9F7-46221D5DF3A5}" srcOrd="3" destOrd="0" parTransId="{7F8A1E2C-5513-4830-9E13-01B253149C27}" sibTransId="{B631B5ED-02C2-42E9-B764-E4931DDB37D8}"/>
    <dgm:cxn modelId="{47F0AAA4-9330-466B-B7E9-ADFA24960243}" type="presOf" srcId="{04D98304-F4B4-4A9A-8950-419B985EEDFD}" destId="{455F7366-7D9C-4DE7-B8EB-653DEDD27206}" srcOrd="0" destOrd="0" presId="urn:microsoft.com/office/officeart/2005/8/layout/cycle3"/>
    <dgm:cxn modelId="{BACCE63C-DD9D-4193-A5C2-9AE2B36C96E7}" srcId="{C5D8BB84-0561-4309-84F3-DD9FFC77359F}" destId="{E30F26BC-678B-4AB6-9D29-BA99D0EC2BBD}" srcOrd="4" destOrd="0" parTransId="{FC1E3258-ABAC-4A4D-A7E4-F651C5E7B4D6}" sibTransId="{9582B48E-3510-49F1-A652-9C4122EA5E8B}"/>
    <dgm:cxn modelId="{D2F188B2-F133-40BD-89FF-A60082E389F9}" type="presOf" srcId="{8F51238D-C358-4D92-B012-BC2D447C2875}" destId="{AFBED32E-C73D-4A25-BE02-44170F373D35}" srcOrd="0" destOrd="0" presId="urn:microsoft.com/office/officeart/2005/8/layout/cycle3"/>
    <dgm:cxn modelId="{2BE2C7BE-4A6D-4239-9E08-515C09946AE5}" srcId="{C5D8BB84-0561-4309-84F3-DD9FFC77359F}" destId="{DACF277F-3D1B-46EE-8010-4DA12B062423}" srcOrd="5" destOrd="0" parTransId="{AB2456B0-0E3A-49E3-8AD6-114823000B51}" sibTransId="{3DCE7BC7-5D21-419F-8DBF-1A300D14C128}"/>
    <dgm:cxn modelId="{CC398CF2-DE30-4EF9-A4A4-E7AD01F7B57C}" type="presOf" srcId="{E30F26BC-678B-4AB6-9D29-BA99D0EC2BBD}" destId="{1CAA9F8B-9D22-45A8-8432-7E1ADFE57909}" srcOrd="0" destOrd="0" presId="urn:microsoft.com/office/officeart/2005/8/layout/cycle3"/>
    <dgm:cxn modelId="{206D0777-B739-4440-B9E7-9139EE03DF00}" type="presOf" srcId="{C5D8BB84-0561-4309-84F3-DD9FFC77359F}" destId="{E9309630-4012-4920-8027-4893DD52BCC8}"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57F40B4C-C49A-445C-A363-907BE2EACD16}" type="presOf" srcId="{C149BF4C-87FE-45C1-BDB4-4DFE5C616605}" destId="{1E763684-8221-4BBC-AF24-B8B55BF120DA}" srcOrd="0" destOrd="0" presId="urn:microsoft.com/office/officeart/2005/8/layout/cycle3"/>
    <dgm:cxn modelId="{A3C85819-5A70-4DCF-B8F0-39200D3E934D}" type="presOf" srcId="{B29E7981-9735-4FCF-BED5-AEAF8101815F}" destId="{ED8DEF44-EAA5-4BB8-87A7-7C641633305B}"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C1AFC6F6-30D6-41A6-9BE8-59D92DAF5A9C}" type="presOf" srcId="{35E3635C-C619-45E7-A9F7-46221D5DF3A5}" destId="{3920C4B2-D7C1-42B4-B76B-33700DCDF627}" srcOrd="0" destOrd="0" presId="urn:microsoft.com/office/officeart/2005/8/layout/cycle3"/>
    <dgm:cxn modelId="{0BF2CE2C-3CAF-4A72-A049-B46614CCDDD3}" type="presOf" srcId="{DACF277F-3D1B-46EE-8010-4DA12B062423}" destId="{E799485A-A9A9-44FE-8B8B-C4710711D4BB}" srcOrd="0" destOrd="0" presId="urn:microsoft.com/office/officeart/2005/8/layout/cycle3"/>
    <dgm:cxn modelId="{52F3F32A-BA5A-46CA-8343-BB90EEF46D57}" type="presParOf" srcId="{E9309630-4012-4920-8027-4893DD52BCC8}" destId="{A0BE5199-981A-4D82-8C9D-0700C3C5A091}" srcOrd="0" destOrd="0" presId="urn:microsoft.com/office/officeart/2005/8/layout/cycle3"/>
    <dgm:cxn modelId="{55713526-AE4C-4601-8CA0-9B2BA76122AB}" type="presParOf" srcId="{A0BE5199-981A-4D82-8C9D-0700C3C5A091}" destId="{455F7366-7D9C-4DE7-B8EB-653DEDD27206}" srcOrd="0" destOrd="0" presId="urn:microsoft.com/office/officeart/2005/8/layout/cycle3"/>
    <dgm:cxn modelId="{7CD7DC43-124D-4C25-AB61-906BD4AD4300}" type="presParOf" srcId="{A0BE5199-981A-4D82-8C9D-0700C3C5A091}" destId="{ED8DEF44-EAA5-4BB8-87A7-7C641633305B}" srcOrd="1" destOrd="0" presId="urn:microsoft.com/office/officeart/2005/8/layout/cycle3"/>
    <dgm:cxn modelId="{1C0CDAEE-F2D3-48C5-BF52-66898550434D}" type="presParOf" srcId="{A0BE5199-981A-4D82-8C9D-0700C3C5A091}" destId="{1E763684-8221-4BBC-AF24-B8B55BF120DA}" srcOrd="2" destOrd="0" presId="urn:microsoft.com/office/officeart/2005/8/layout/cycle3"/>
    <dgm:cxn modelId="{F0B574A9-3C60-4854-B443-CB07D31AC9FC}" type="presParOf" srcId="{A0BE5199-981A-4D82-8C9D-0700C3C5A091}" destId="{AFBED32E-C73D-4A25-BE02-44170F373D35}" srcOrd="3" destOrd="0" presId="urn:microsoft.com/office/officeart/2005/8/layout/cycle3"/>
    <dgm:cxn modelId="{B098CE80-BE82-40EE-9233-83FF37510BEB}" type="presParOf" srcId="{A0BE5199-981A-4D82-8C9D-0700C3C5A091}" destId="{3920C4B2-D7C1-42B4-B76B-33700DCDF627}" srcOrd="4" destOrd="0" presId="urn:microsoft.com/office/officeart/2005/8/layout/cycle3"/>
    <dgm:cxn modelId="{C9E44001-715E-4DE0-907F-CCA1757A3455}" type="presParOf" srcId="{A0BE5199-981A-4D82-8C9D-0700C3C5A091}" destId="{1CAA9F8B-9D22-45A8-8432-7E1ADFE57909}" srcOrd="5" destOrd="0" presId="urn:microsoft.com/office/officeart/2005/8/layout/cycle3"/>
    <dgm:cxn modelId="{C2429B93-7D8E-4642-8C81-A84FF2B580F7}"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5D8BB84-0561-4309-84F3-DD9FFC77359F}"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04D98304-F4B4-4A9A-8950-419B985EEDFD}">
      <dgm:prSet phldrT="[Text]" custT="1"/>
      <dgm:spPr>
        <a:solidFill>
          <a:schemeClr val="bg1">
            <a:lumMod val="85000"/>
          </a:schemeClr>
        </a:solidFill>
      </dgm:spPr>
      <dgm:t>
        <a:bodyPr/>
        <a:lstStyle/>
        <a:p>
          <a:r>
            <a:rPr lang="en-US" sz="1000" b="1" dirty="0" smtClean="0"/>
            <a:t>1. Categorize the Information System</a:t>
          </a:r>
          <a:endParaRPr lang="en-US" sz="1000" b="1" dirty="0"/>
        </a:p>
      </dgm:t>
    </dgm:pt>
    <dgm:pt modelId="{BBA4ADE9-776B-4987-9E04-AC61364F7622}" type="parTrans" cxnId="{A805648D-65FA-4B22-9337-01B232BD27C6}">
      <dgm:prSet/>
      <dgm:spPr/>
      <dgm:t>
        <a:bodyPr/>
        <a:lstStyle/>
        <a:p>
          <a:endParaRPr lang="en-US"/>
        </a:p>
      </dgm:t>
    </dgm:pt>
    <dgm:pt modelId="{B29E7981-9735-4FCF-BED5-AEAF8101815F}" type="sibTrans" cxnId="{A805648D-65FA-4B22-9337-01B232BD27C6}">
      <dgm:prSet/>
      <dgm:spPr>
        <a:solidFill>
          <a:schemeClr val="bg1">
            <a:lumMod val="75000"/>
          </a:schemeClr>
        </a:solidFill>
      </dgm:spPr>
      <dgm:t>
        <a:bodyPr/>
        <a:lstStyle/>
        <a:p>
          <a:endParaRPr lang="en-US"/>
        </a:p>
      </dgm:t>
    </dgm:pt>
    <dgm:pt modelId="{C149BF4C-87FE-45C1-BDB4-4DFE5C616605}">
      <dgm:prSet phldrT="[Text]" custT="1"/>
      <dgm:spPr>
        <a:solidFill>
          <a:schemeClr val="bg1">
            <a:lumMod val="85000"/>
          </a:schemeClr>
        </a:solidFill>
      </dgm:spPr>
      <dgm:t>
        <a:bodyPr/>
        <a:lstStyle/>
        <a:p>
          <a:r>
            <a:rPr lang="en-US" sz="1000" b="1" dirty="0" smtClean="0"/>
            <a:t>2. Select Security Controls</a:t>
          </a:r>
          <a:endParaRPr lang="en-US" sz="1000" b="1" dirty="0"/>
        </a:p>
      </dgm:t>
    </dgm:pt>
    <dgm:pt modelId="{092FF9BB-A881-4919-B9F4-8BA4A07A8895}" type="parTrans" cxnId="{CFFB832A-A43F-4DFB-847D-E96319EDBF59}">
      <dgm:prSet/>
      <dgm:spPr/>
      <dgm:t>
        <a:bodyPr/>
        <a:lstStyle/>
        <a:p>
          <a:endParaRPr lang="en-US"/>
        </a:p>
      </dgm:t>
    </dgm:pt>
    <dgm:pt modelId="{8CA49A43-13BE-47E2-9061-5B74E3F2FEE7}" type="sibTrans" cxnId="{CFFB832A-A43F-4DFB-847D-E96319EDBF59}">
      <dgm:prSet/>
      <dgm:spPr/>
      <dgm:t>
        <a:bodyPr/>
        <a:lstStyle/>
        <a:p>
          <a:endParaRPr lang="en-US"/>
        </a:p>
      </dgm:t>
    </dgm:pt>
    <dgm:pt modelId="{8F51238D-C358-4D92-B012-BC2D447C2875}">
      <dgm:prSet phldrT="[Text]" custT="1"/>
      <dgm:spPr>
        <a:solidFill>
          <a:schemeClr val="bg1">
            <a:lumMod val="85000"/>
          </a:schemeClr>
        </a:solidFill>
      </dgm:spPr>
      <dgm:t>
        <a:bodyPr/>
        <a:lstStyle/>
        <a:p>
          <a:r>
            <a:rPr lang="en-US" sz="1000" b="1" dirty="0" smtClean="0"/>
            <a:t>3. Implement Security Controls</a:t>
          </a:r>
          <a:endParaRPr lang="en-US" sz="1000" b="1" dirty="0"/>
        </a:p>
      </dgm:t>
    </dgm:pt>
    <dgm:pt modelId="{9E6C15DC-CFD4-4B28-AA0D-69F351D40940}" type="parTrans" cxnId="{50EB9954-3EFD-4A45-AD64-00C197B73AA8}">
      <dgm:prSet/>
      <dgm:spPr/>
      <dgm:t>
        <a:bodyPr/>
        <a:lstStyle/>
        <a:p>
          <a:endParaRPr lang="en-US"/>
        </a:p>
      </dgm:t>
    </dgm:pt>
    <dgm:pt modelId="{B9F21BB2-70A9-4FCF-ACFA-3A13A44C1EF2}" type="sibTrans" cxnId="{50EB9954-3EFD-4A45-AD64-00C197B73AA8}">
      <dgm:prSet/>
      <dgm:spPr/>
      <dgm:t>
        <a:bodyPr/>
        <a:lstStyle/>
        <a:p>
          <a:endParaRPr lang="en-US"/>
        </a:p>
      </dgm:t>
    </dgm:pt>
    <dgm:pt modelId="{35E3635C-C619-45E7-A9F7-46221D5DF3A5}">
      <dgm:prSet phldrT="[Text]" custT="1"/>
      <dgm:spPr>
        <a:solidFill>
          <a:schemeClr val="bg1">
            <a:lumMod val="85000"/>
          </a:schemeClr>
        </a:solidFill>
      </dgm:spPr>
      <dgm:t>
        <a:bodyPr/>
        <a:lstStyle/>
        <a:p>
          <a:r>
            <a:rPr lang="en-US" sz="1000" b="1" dirty="0" smtClean="0"/>
            <a:t>4. Assess Security Controls</a:t>
          </a:r>
          <a:endParaRPr lang="en-US" sz="1000" b="1" dirty="0"/>
        </a:p>
      </dgm:t>
    </dgm:pt>
    <dgm:pt modelId="{7F8A1E2C-5513-4830-9E13-01B253149C27}" type="parTrans" cxnId="{2410433A-7447-47D0-A2C6-98D7E064C37D}">
      <dgm:prSet/>
      <dgm:spPr/>
      <dgm:t>
        <a:bodyPr/>
        <a:lstStyle/>
        <a:p>
          <a:endParaRPr lang="en-US"/>
        </a:p>
      </dgm:t>
    </dgm:pt>
    <dgm:pt modelId="{B631B5ED-02C2-42E9-B764-E4931DDB37D8}" type="sibTrans" cxnId="{2410433A-7447-47D0-A2C6-98D7E064C37D}">
      <dgm:prSet/>
      <dgm:spPr/>
      <dgm:t>
        <a:bodyPr/>
        <a:lstStyle/>
        <a:p>
          <a:endParaRPr lang="en-US"/>
        </a:p>
      </dgm:t>
    </dgm:pt>
    <dgm:pt modelId="{E30F26BC-678B-4AB6-9D29-BA99D0EC2BBD}">
      <dgm:prSet phldrT="[Text]" custT="1"/>
      <dgm:spPr>
        <a:solidFill>
          <a:schemeClr val="bg1">
            <a:lumMod val="85000"/>
          </a:schemeClr>
        </a:solidFill>
      </dgm:spPr>
      <dgm:t>
        <a:bodyPr/>
        <a:lstStyle/>
        <a:p>
          <a:r>
            <a:rPr lang="en-US" sz="1000" b="1" dirty="0" smtClean="0"/>
            <a:t>5. Authorize the Information System</a:t>
          </a:r>
          <a:endParaRPr lang="en-US" sz="1000" b="1" dirty="0"/>
        </a:p>
      </dgm:t>
    </dgm:pt>
    <dgm:pt modelId="{FC1E3258-ABAC-4A4D-A7E4-F651C5E7B4D6}" type="parTrans" cxnId="{BACCE63C-DD9D-4193-A5C2-9AE2B36C96E7}">
      <dgm:prSet/>
      <dgm:spPr/>
      <dgm:t>
        <a:bodyPr/>
        <a:lstStyle/>
        <a:p>
          <a:endParaRPr lang="en-US"/>
        </a:p>
      </dgm:t>
    </dgm:pt>
    <dgm:pt modelId="{9582B48E-3510-49F1-A652-9C4122EA5E8B}" type="sibTrans" cxnId="{BACCE63C-DD9D-4193-A5C2-9AE2B36C96E7}">
      <dgm:prSet/>
      <dgm:spPr/>
      <dgm:t>
        <a:bodyPr/>
        <a:lstStyle/>
        <a:p>
          <a:endParaRPr lang="en-US"/>
        </a:p>
      </dgm:t>
    </dgm:pt>
    <dgm:pt modelId="{DACF277F-3D1B-46EE-8010-4DA12B062423}">
      <dgm:prSet phldrT="[Text]" custT="1"/>
      <dgm:spPr/>
      <dgm:t>
        <a:bodyPr/>
        <a:lstStyle/>
        <a:p>
          <a:r>
            <a:rPr lang="en-US" sz="1000" b="1" dirty="0" smtClean="0"/>
            <a:t>6. Monitor the Information System</a:t>
          </a:r>
          <a:endParaRPr lang="en-US" sz="1000" b="1" dirty="0"/>
        </a:p>
      </dgm:t>
    </dgm:pt>
    <dgm:pt modelId="{AB2456B0-0E3A-49E3-8AD6-114823000B51}" type="parTrans" cxnId="{2BE2C7BE-4A6D-4239-9E08-515C09946AE5}">
      <dgm:prSet/>
      <dgm:spPr/>
      <dgm:t>
        <a:bodyPr/>
        <a:lstStyle/>
        <a:p>
          <a:endParaRPr lang="en-US"/>
        </a:p>
      </dgm:t>
    </dgm:pt>
    <dgm:pt modelId="{3DCE7BC7-5D21-419F-8DBF-1A300D14C128}" type="sibTrans" cxnId="{2BE2C7BE-4A6D-4239-9E08-515C09946AE5}">
      <dgm:prSet/>
      <dgm:spPr/>
      <dgm:t>
        <a:bodyPr/>
        <a:lstStyle/>
        <a:p>
          <a:endParaRPr lang="en-US"/>
        </a:p>
      </dgm:t>
    </dgm:pt>
    <dgm:pt modelId="{E9309630-4012-4920-8027-4893DD52BCC8}" type="pres">
      <dgm:prSet presAssocID="{C5D8BB84-0561-4309-84F3-DD9FFC77359F}" presName="Name0" presStyleCnt="0">
        <dgm:presLayoutVars>
          <dgm:dir/>
          <dgm:resizeHandles val="exact"/>
        </dgm:presLayoutVars>
      </dgm:prSet>
      <dgm:spPr/>
      <dgm:t>
        <a:bodyPr/>
        <a:lstStyle/>
        <a:p>
          <a:endParaRPr lang="en-US"/>
        </a:p>
      </dgm:t>
    </dgm:pt>
    <dgm:pt modelId="{A0BE5199-981A-4D82-8C9D-0700C3C5A091}" type="pres">
      <dgm:prSet presAssocID="{C5D8BB84-0561-4309-84F3-DD9FFC77359F}" presName="cycle" presStyleCnt="0"/>
      <dgm:spPr/>
    </dgm:pt>
    <dgm:pt modelId="{455F7366-7D9C-4DE7-B8EB-653DEDD27206}" type="pres">
      <dgm:prSet presAssocID="{04D98304-F4B4-4A9A-8950-419B985EEDFD}" presName="nodeFirstNode" presStyleLbl="node1" presStyleIdx="0" presStyleCnt="6">
        <dgm:presLayoutVars>
          <dgm:bulletEnabled val="1"/>
        </dgm:presLayoutVars>
      </dgm:prSet>
      <dgm:spPr/>
      <dgm:t>
        <a:bodyPr/>
        <a:lstStyle/>
        <a:p>
          <a:endParaRPr lang="en-US"/>
        </a:p>
      </dgm:t>
    </dgm:pt>
    <dgm:pt modelId="{ED8DEF44-EAA5-4BB8-87A7-7C641633305B}" type="pres">
      <dgm:prSet presAssocID="{B29E7981-9735-4FCF-BED5-AEAF8101815F}" presName="sibTransFirstNode" presStyleLbl="bgShp" presStyleIdx="0" presStyleCnt="1"/>
      <dgm:spPr/>
      <dgm:t>
        <a:bodyPr/>
        <a:lstStyle/>
        <a:p>
          <a:endParaRPr lang="en-US"/>
        </a:p>
      </dgm:t>
    </dgm:pt>
    <dgm:pt modelId="{1E763684-8221-4BBC-AF24-B8B55BF120DA}" type="pres">
      <dgm:prSet presAssocID="{C149BF4C-87FE-45C1-BDB4-4DFE5C616605}" presName="nodeFollowingNodes" presStyleLbl="node1" presStyleIdx="1" presStyleCnt="6">
        <dgm:presLayoutVars>
          <dgm:bulletEnabled val="1"/>
        </dgm:presLayoutVars>
      </dgm:prSet>
      <dgm:spPr/>
      <dgm:t>
        <a:bodyPr/>
        <a:lstStyle/>
        <a:p>
          <a:endParaRPr lang="en-US"/>
        </a:p>
      </dgm:t>
    </dgm:pt>
    <dgm:pt modelId="{AFBED32E-C73D-4A25-BE02-44170F373D35}" type="pres">
      <dgm:prSet presAssocID="{8F51238D-C358-4D92-B012-BC2D447C2875}" presName="nodeFollowingNodes" presStyleLbl="node1" presStyleIdx="2" presStyleCnt="6">
        <dgm:presLayoutVars>
          <dgm:bulletEnabled val="1"/>
        </dgm:presLayoutVars>
      </dgm:prSet>
      <dgm:spPr/>
      <dgm:t>
        <a:bodyPr/>
        <a:lstStyle/>
        <a:p>
          <a:endParaRPr lang="en-US"/>
        </a:p>
      </dgm:t>
    </dgm:pt>
    <dgm:pt modelId="{3920C4B2-D7C1-42B4-B76B-33700DCDF627}" type="pres">
      <dgm:prSet presAssocID="{35E3635C-C619-45E7-A9F7-46221D5DF3A5}" presName="nodeFollowingNodes" presStyleLbl="node1" presStyleIdx="3" presStyleCnt="6">
        <dgm:presLayoutVars>
          <dgm:bulletEnabled val="1"/>
        </dgm:presLayoutVars>
      </dgm:prSet>
      <dgm:spPr/>
      <dgm:t>
        <a:bodyPr/>
        <a:lstStyle/>
        <a:p>
          <a:endParaRPr lang="en-US"/>
        </a:p>
      </dgm:t>
    </dgm:pt>
    <dgm:pt modelId="{1CAA9F8B-9D22-45A8-8432-7E1ADFE57909}" type="pres">
      <dgm:prSet presAssocID="{E30F26BC-678B-4AB6-9D29-BA99D0EC2BBD}" presName="nodeFollowingNodes" presStyleLbl="node1" presStyleIdx="4" presStyleCnt="6">
        <dgm:presLayoutVars>
          <dgm:bulletEnabled val="1"/>
        </dgm:presLayoutVars>
      </dgm:prSet>
      <dgm:spPr/>
      <dgm:t>
        <a:bodyPr/>
        <a:lstStyle/>
        <a:p>
          <a:endParaRPr lang="en-US"/>
        </a:p>
      </dgm:t>
    </dgm:pt>
    <dgm:pt modelId="{E799485A-A9A9-44FE-8B8B-C4710711D4BB}" type="pres">
      <dgm:prSet presAssocID="{DACF277F-3D1B-46EE-8010-4DA12B062423}" presName="nodeFollowingNodes" presStyleLbl="node1" presStyleIdx="5" presStyleCnt="6">
        <dgm:presLayoutVars>
          <dgm:bulletEnabled val="1"/>
        </dgm:presLayoutVars>
      </dgm:prSet>
      <dgm:spPr/>
      <dgm:t>
        <a:bodyPr/>
        <a:lstStyle/>
        <a:p>
          <a:endParaRPr lang="en-US"/>
        </a:p>
      </dgm:t>
    </dgm:pt>
  </dgm:ptLst>
  <dgm:cxnLst>
    <dgm:cxn modelId="{2410433A-7447-47D0-A2C6-98D7E064C37D}" srcId="{C5D8BB84-0561-4309-84F3-DD9FFC77359F}" destId="{35E3635C-C619-45E7-A9F7-46221D5DF3A5}" srcOrd="3" destOrd="0" parTransId="{7F8A1E2C-5513-4830-9E13-01B253149C27}" sibTransId="{B631B5ED-02C2-42E9-B764-E4931DDB37D8}"/>
    <dgm:cxn modelId="{BACCE63C-DD9D-4193-A5C2-9AE2B36C96E7}" srcId="{C5D8BB84-0561-4309-84F3-DD9FFC77359F}" destId="{E30F26BC-678B-4AB6-9D29-BA99D0EC2BBD}" srcOrd="4" destOrd="0" parTransId="{FC1E3258-ABAC-4A4D-A7E4-F651C5E7B4D6}" sibTransId="{9582B48E-3510-49F1-A652-9C4122EA5E8B}"/>
    <dgm:cxn modelId="{B63D4770-A276-487E-915D-AE3FCD8DF7DD}" type="presOf" srcId="{C5D8BB84-0561-4309-84F3-DD9FFC77359F}" destId="{E9309630-4012-4920-8027-4893DD52BCC8}" srcOrd="0" destOrd="0" presId="urn:microsoft.com/office/officeart/2005/8/layout/cycle3"/>
    <dgm:cxn modelId="{2BE2C7BE-4A6D-4239-9E08-515C09946AE5}" srcId="{C5D8BB84-0561-4309-84F3-DD9FFC77359F}" destId="{DACF277F-3D1B-46EE-8010-4DA12B062423}" srcOrd="5" destOrd="0" parTransId="{AB2456B0-0E3A-49E3-8AD6-114823000B51}" sibTransId="{3DCE7BC7-5D21-419F-8DBF-1A300D14C128}"/>
    <dgm:cxn modelId="{F931D072-E857-4344-B178-BF2F88BFDD2B}" type="presOf" srcId="{C149BF4C-87FE-45C1-BDB4-4DFE5C616605}" destId="{1E763684-8221-4BBC-AF24-B8B55BF120DA}" srcOrd="0" destOrd="0" presId="urn:microsoft.com/office/officeart/2005/8/layout/cycle3"/>
    <dgm:cxn modelId="{9D3515C1-45CC-4F3F-8422-57553938B016}" type="presOf" srcId="{DACF277F-3D1B-46EE-8010-4DA12B062423}" destId="{E799485A-A9A9-44FE-8B8B-C4710711D4BB}" srcOrd="0" destOrd="0" presId="urn:microsoft.com/office/officeart/2005/8/layout/cycle3"/>
    <dgm:cxn modelId="{782D1842-1EEC-411D-B453-1CB95A82E1FA}" type="presOf" srcId="{35E3635C-C619-45E7-A9F7-46221D5DF3A5}" destId="{3920C4B2-D7C1-42B4-B76B-33700DCDF627}" srcOrd="0" destOrd="0" presId="urn:microsoft.com/office/officeart/2005/8/layout/cycle3"/>
    <dgm:cxn modelId="{E895E30D-39C7-47D9-A58E-15140A59AA67}" type="presOf" srcId="{04D98304-F4B4-4A9A-8950-419B985EEDFD}" destId="{455F7366-7D9C-4DE7-B8EB-653DEDD27206}" srcOrd="0" destOrd="0" presId="urn:microsoft.com/office/officeart/2005/8/layout/cycle3"/>
    <dgm:cxn modelId="{B9A7F927-DAD4-4511-BDA6-6E4A608CEA74}" type="presOf" srcId="{B29E7981-9735-4FCF-BED5-AEAF8101815F}" destId="{ED8DEF44-EAA5-4BB8-87A7-7C641633305B}" srcOrd="0" destOrd="0" presId="urn:microsoft.com/office/officeart/2005/8/layout/cycle3"/>
    <dgm:cxn modelId="{CFFB832A-A43F-4DFB-847D-E96319EDBF59}" srcId="{C5D8BB84-0561-4309-84F3-DD9FFC77359F}" destId="{C149BF4C-87FE-45C1-BDB4-4DFE5C616605}" srcOrd="1" destOrd="0" parTransId="{092FF9BB-A881-4919-B9F4-8BA4A07A8895}" sibTransId="{8CA49A43-13BE-47E2-9061-5B74E3F2FEE7}"/>
    <dgm:cxn modelId="{54D11CB7-A2D3-4FF1-B4DB-D0172EE7AC7B}" type="presOf" srcId="{E30F26BC-678B-4AB6-9D29-BA99D0EC2BBD}" destId="{1CAA9F8B-9D22-45A8-8432-7E1ADFE57909}" srcOrd="0" destOrd="0" presId="urn:microsoft.com/office/officeart/2005/8/layout/cycle3"/>
    <dgm:cxn modelId="{50EB9954-3EFD-4A45-AD64-00C197B73AA8}" srcId="{C5D8BB84-0561-4309-84F3-DD9FFC77359F}" destId="{8F51238D-C358-4D92-B012-BC2D447C2875}" srcOrd="2" destOrd="0" parTransId="{9E6C15DC-CFD4-4B28-AA0D-69F351D40940}" sibTransId="{B9F21BB2-70A9-4FCF-ACFA-3A13A44C1EF2}"/>
    <dgm:cxn modelId="{A805648D-65FA-4B22-9337-01B232BD27C6}" srcId="{C5D8BB84-0561-4309-84F3-DD9FFC77359F}" destId="{04D98304-F4B4-4A9A-8950-419B985EEDFD}" srcOrd="0" destOrd="0" parTransId="{BBA4ADE9-776B-4987-9E04-AC61364F7622}" sibTransId="{B29E7981-9735-4FCF-BED5-AEAF8101815F}"/>
    <dgm:cxn modelId="{DF75AB3E-96EA-46EE-90EC-C45F359DA47F}" type="presOf" srcId="{8F51238D-C358-4D92-B012-BC2D447C2875}" destId="{AFBED32E-C73D-4A25-BE02-44170F373D35}" srcOrd="0" destOrd="0" presId="urn:microsoft.com/office/officeart/2005/8/layout/cycle3"/>
    <dgm:cxn modelId="{563AD241-F00D-47DF-B750-6FF8BC95DE0C}" type="presParOf" srcId="{E9309630-4012-4920-8027-4893DD52BCC8}" destId="{A0BE5199-981A-4D82-8C9D-0700C3C5A091}" srcOrd="0" destOrd="0" presId="urn:microsoft.com/office/officeart/2005/8/layout/cycle3"/>
    <dgm:cxn modelId="{868131AC-AF22-4F5E-B126-294EFC88847E}" type="presParOf" srcId="{A0BE5199-981A-4D82-8C9D-0700C3C5A091}" destId="{455F7366-7D9C-4DE7-B8EB-653DEDD27206}" srcOrd="0" destOrd="0" presId="urn:microsoft.com/office/officeart/2005/8/layout/cycle3"/>
    <dgm:cxn modelId="{DDCE982E-27F2-4F8D-9926-4E1231180358}" type="presParOf" srcId="{A0BE5199-981A-4D82-8C9D-0700C3C5A091}" destId="{ED8DEF44-EAA5-4BB8-87A7-7C641633305B}" srcOrd="1" destOrd="0" presId="urn:microsoft.com/office/officeart/2005/8/layout/cycle3"/>
    <dgm:cxn modelId="{00629B67-C081-4CAF-B1BA-9DA19C0FF32F}" type="presParOf" srcId="{A0BE5199-981A-4D82-8C9D-0700C3C5A091}" destId="{1E763684-8221-4BBC-AF24-B8B55BF120DA}" srcOrd="2" destOrd="0" presId="urn:microsoft.com/office/officeart/2005/8/layout/cycle3"/>
    <dgm:cxn modelId="{F5383AA1-6BA1-4CDC-A643-DCAE5C21D925}" type="presParOf" srcId="{A0BE5199-981A-4D82-8C9D-0700C3C5A091}" destId="{AFBED32E-C73D-4A25-BE02-44170F373D35}" srcOrd="3" destOrd="0" presId="urn:microsoft.com/office/officeart/2005/8/layout/cycle3"/>
    <dgm:cxn modelId="{BB357325-F1A9-4DE9-A76F-B604A4425BBE}" type="presParOf" srcId="{A0BE5199-981A-4D82-8C9D-0700C3C5A091}" destId="{3920C4B2-D7C1-42B4-B76B-33700DCDF627}" srcOrd="4" destOrd="0" presId="urn:microsoft.com/office/officeart/2005/8/layout/cycle3"/>
    <dgm:cxn modelId="{05AD1F7A-0462-4233-AF5D-51B4DB6ED098}" type="presParOf" srcId="{A0BE5199-981A-4D82-8C9D-0700C3C5A091}" destId="{1CAA9F8B-9D22-45A8-8432-7E1ADFE57909}" srcOrd="5" destOrd="0" presId="urn:microsoft.com/office/officeart/2005/8/layout/cycle3"/>
    <dgm:cxn modelId="{17C24CA1-6FDB-4125-B1BC-F67037F43B7E}" type="presParOf" srcId="{A0BE5199-981A-4D82-8C9D-0700C3C5A091}" destId="{E799485A-A9A9-44FE-8B8B-C4710711D4BB}"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F1D5144-9996-4FF5-81BD-5F8C95224F4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FB7AA42F-C05D-4DAF-988E-C62C4F0E0CE1}">
      <dgm:prSet phldrT="[Text]" custT="1"/>
      <dgm:spPr>
        <a:xfrm>
          <a:off x="361962" y="234565"/>
          <a:ext cx="8201524" cy="468925"/>
        </a:xfrm>
        <a:solidFill>
          <a:schemeClr val="accent1"/>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Arial" pitchFamily="34" charset="0"/>
              <a:cs typeface="Arial" pitchFamily="34" charset="0"/>
            </a:rPr>
            <a:t>National Industrial Security Program Operating Manual (NISPOM)</a:t>
          </a:r>
          <a:endParaRPr lang="en-US" sz="1200" dirty="0">
            <a:solidFill>
              <a:srgbClr val="FFFFFF"/>
            </a:solidFill>
            <a:latin typeface="Arial"/>
            <a:ea typeface="+mn-ea"/>
            <a:cs typeface="+mn-cs"/>
          </a:endParaRPr>
        </a:p>
      </dgm:t>
    </dgm:pt>
    <dgm:pt modelId="{66A40A62-A2E6-43F5-B7EC-BDA9E009447D}" type="parTrans" cxnId="{7305E12D-BD26-445D-8CE4-88C53C47A03A}">
      <dgm:prSet/>
      <dgm:spPr/>
      <dgm:t>
        <a:bodyPr/>
        <a:lstStyle/>
        <a:p>
          <a:endParaRPr lang="en-US" sz="1000"/>
        </a:p>
      </dgm:t>
    </dgm:pt>
    <dgm:pt modelId="{898AB8E7-1297-4277-8F09-88E2D98FC7C1}" type="sibTrans" cxnId="{7305E12D-BD26-445D-8CE4-88C53C47A03A}">
      <dgm:prSet/>
      <dgm:spPr>
        <a:xfrm>
          <a:off x="-5830526" y="-892890"/>
          <a:ext cx="6945610" cy="6945610"/>
        </a:xfrm>
        <a:noFill/>
        <a:ln w="25400" cap="flat" cmpd="sng" algn="ctr">
          <a:solidFill>
            <a:srgbClr val="002776"/>
          </a:solidFill>
          <a:prstDash val="solid"/>
        </a:ln>
        <a:effectLst/>
      </dgm:spPr>
      <dgm:t>
        <a:bodyPr/>
        <a:lstStyle/>
        <a:p>
          <a:endParaRPr lang="en-US" sz="1000"/>
        </a:p>
      </dgm:t>
    </dgm:pt>
    <dgm:pt modelId="{F2B876D8-8F43-4EBD-BC47-E57AD3B727AA}">
      <dgm:prSet custT="1"/>
      <dgm:spPr>
        <a:xfrm>
          <a:off x="786615" y="938366"/>
          <a:ext cx="7776870" cy="468925"/>
        </a:xfrm>
        <a:solidFill>
          <a:srgbClr val="00A1DE">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Arial" pitchFamily="34" charset="0"/>
              <a:cs typeface="Arial" pitchFamily="34" charset="0"/>
            </a:rPr>
            <a:t>NIST SP 800-37: </a:t>
          </a:r>
          <a:r>
            <a:rPr lang="en-US" sz="1200" dirty="0" smtClean="0">
              <a:solidFill>
                <a:schemeClr val="bg1"/>
              </a:solidFill>
              <a:latin typeface="Arial" pitchFamily="34" charset="0"/>
              <a:cs typeface="Arial" pitchFamily="34" charset="0"/>
            </a:rPr>
            <a:t>Guide for Applying the Risk Management Framework to Federal Information Systems</a:t>
          </a:r>
          <a:endParaRPr lang="en-US" sz="1200" b="0" dirty="0" smtClean="0">
            <a:solidFill>
              <a:srgbClr val="FFFFFF"/>
            </a:solidFill>
            <a:latin typeface="Arial"/>
            <a:ea typeface="+mn-ea"/>
            <a:cs typeface="+mn-cs"/>
          </a:endParaRPr>
        </a:p>
      </dgm:t>
    </dgm:pt>
    <dgm:pt modelId="{5DB38B93-792E-468E-8E19-4C28D0879376}" type="parTrans" cxnId="{FCAF3116-E126-43EB-BC24-9821F96A16C2}">
      <dgm:prSet/>
      <dgm:spPr/>
      <dgm:t>
        <a:bodyPr/>
        <a:lstStyle/>
        <a:p>
          <a:endParaRPr lang="en-US" sz="1000"/>
        </a:p>
      </dgm:t>
    </dgm:pt>
    <dgm:pt modelId="{2EE5FDDA-89E0-43F9-B447-B0BAC724AC5E}" type="sibTrans" cxnId="{FCAF3116-E126-43EB-BC24-9821F96A16C2}">
      <dgm:prSet/>
      <dgm:spPr/>
      <dgm:t>
        <a:bodyPr/>
        <a:lstStyle/>
        <a:p>
          <a:endParaRPr lang="en-US" sz="1000"/>
        </a:p>
      </dgm:t>
    </dgm:pt>
    <dgm:pt modelId="{574C15DD-292D-4E04-BE65-EF94EB27421A}">
      <dgm:prSet custT="1"/>
      <dgm:spPr>
        <a:xfrm>
          <a:off x="1093625" y="2345451"/>
          <a:ext cx="7469860"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Arial" pitchFamily="34" charset="0"/>
              <a:cs typeface="Arial" pitchFamily="34" charset="0"/>
            </a:rPr>
            <a:t>NIST SP 800-53: </a:t>
          </a:r>
          <a:r>
            <a:rPr lang="en-US" sz="1200" dirty="0" smtClean="0">
              <a:solidFill>
                <a:schemeClr val="bg1"/>
              </a:solidFill>
              <a:latin typeface="Arial" pitchFamily="34" charset="0"/>
              <a:cs typeface="Arial" pitchFamily="34" charset="0"/>
            </a:rPr>
            <a:t>Security and Privacy Controls for Federal Information Systems and Organizations</a:t>
          </a:r>
          <a:endParaRPr lang="en-US" sz="1200" b="0" dirty="0" smtClean="0">
            <a:solidFill>
              <a:srgbClr val="FFFFFF"/>
            </a:solidFill>
            <a:latin typeface="Arial"/>
            <a:ea typeface="+mn-ea"/>
            <a:cs typeface="+mn-cs"/>
          </a:endParaRPr>
        </a:p>
      </dgm:t>
    </dgm:pt>
    <dgm:pt modelId="{C7437943-E095-4830-BB71-56BD9B4F9352}" type="parTrans" cxnId="{06BBE35D-CB09-46E4-BCF2-90DE86D11BBB}">
      <dgm:prSet/>
      <dgm:spPr/>
      <dgm:t>
        <a:bodyPr/>
        <a:lstStyle/>
        <a:p>
          <a:endParaRPr lang="en-US" sz="1000"/>
        </a:p>
      </dgm:t>
    </dgm:pt>
    <dgm:pt modelId="{FD719183-5733-43EA-8430-B513B9580F57}" type="sibTrans" cxnId="{06BBE35D-CB09-46E4-BCF2-90DE86D11BBB}">
      <dgm:prSet/>
      <dgm:spPr/>
      <dgm:t>
        <a:bodyPr/>
        <a:lstStyle/>
        <a:p>
          <a:endParaRPr lang="en-US" sz="1000"/>
        </a:p>
      </dgm:t>
    </dgm:pt>
    <dgm:pt modelId="{2DD70670-423F-4331-B473-391EFE138201}">
      <dgm:prSet custT="1"/>
      <dgm:spPr>
        <a:xfrm>
          <a:off x="1019324" y="1641651"/>
          <a:ext cx="7544162"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Arial"/>
              <a:ea typeface="+mn-ea"/>
              <a:cs typeface="+mn-cs"/>
            </a:rPr>
            <a:t>NIST SP 800-137: </a:t>
          </a:r>
          <a:r>
            <a:rPr lang="en-US" sz="1200" b="0" dirty="0" smtClean="0">
              <a:solidFill>
                <a:srgbClr val="FFFFFF"/>
              </a:solidFill>
              <a:latin typeface="Arial"/>
              <a:ea typeface="+mn-ea"/>
              <a:cs typeface="+mn-cs"/>
            </a:rPr>
            <a:t>Information Security Continuous Monitoring (ISCM) for Federal Information Systems and Organizations</a:t>
          </a:r>
        </a:p>
      </dgm:t>
    </dgm:pt>
    <dgm:pt modelId="{DA7A5D78-B824-4AC9-94C3-E366E92F131A}" type="parTrans" cxnId="{6655903B-7F12-469F-B069-CCC10DC77986}">
      <dgm:prSet/>
      <dgm:spPr/>
      <dgm:t>
        <a:bodyPr/>
        <a:lstStyle/>
        <a:p>
          <a:endParaRPr lang="en-US" sz="1000"/>
        </a:p>
      </dgm:t>
    </dgm:pt>
    <dgm:pt modelId="{58DB3BB4-D332-4CFD-BB68-7648213CCD02}" type="sibTrans" cxnId="{6655903B-7F12-469F-B069-CCC10DC77986}">
      <dgm:prSet/>
      <dgm:spPr/>
      <dgm:t>
        <a:bodyPr/>
        <a:lstStyle/>
        <a:p>
          <a:endParaRPr lang="en-US" sz="1000"/>
        </a:p>
      </dgm:t>
    </dgm:pt>
    <dgm:pt modelId="{C84975BF-6B6E-4D2B-B4B8-EA4F90DE1846}">
      <dgm:prSet custT="1"/>
      <dgm:spPr>
        <a:xfrm>
          <a:off x="1093625" y="2345451"/>
          <a:ext cx="7469860" cy="468925"/>
        </a:xfrm>
        <a:solidFill>
          <a:schemeClr val="accent3"/>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Arial"/>
              <a:ea typeface="+mn-ea"/>
              <a:cs typeface="+mn-cs"/>
            </a:rPr>
            <a:t>NIST SP 800-53A: </a:t>
          </a:r>
          <a:r>
            <a:rPr lang="en-US" sz="1200" b="0" dirty="0" smtClean="0">
              <a:solidFill>
                <a:srgbClr val="FFFFFF"/>
              </a:solidFill>
              <a:latin typeface="Arial"/>
              <a:ea typeface="+mn-ea"/>
              <a:cs typeface="+mn-cs"/>
            </a:rPr>
            <a:t>Assessing Security and Privacy Controls in Federal Information Systems and Organizations: Building Effective Assessment Plans</a:t>
          </a:r>
        </a:p>
      </dgm:t>
    </dgm:pt>
    <dgm:pt modelId="{F4714A3D-C7D0-42EB-820F-5CF0BA7515F5}" type="parTrans" cxnId="{D7E843A3-A943-4636-81BF-3BD3C82D21FF}">
      <dgm:prSet/>
      <dgm:spPr/>
      <dgm:t>
        <a:bodyPr/>
        <a:lstStyle/>
        <a:p>
          <a:endParaRPr lang="en-US"/>
        </a:p>
      </dgm:t>
    </dgm:pt>
    <dgm:pt modelId="{D0BA43A6-DA85-4641-B1D5-29B8CD21D351}" type="sibTrans" cxnId="{D7E843A3-A943-4636-81BF-3BD3C82D21FF}">
      <dgm:prSet/>
      <dgm:spPr/>
      <dgm:t>
        <a:bodyPr/>
        <a:lstStyle/>
        <a:p>
          <a:endParaRPr lang="en-US"/>
        </a:p>
      </dgm:t>
    </dgm:pt>
    <dgm:pt modelId="{0682B562-B677-4B8B-92EA-1EA691536664}">
      <dgm:prSet custT="1"/>
      <dgm:spPr>
        <a:xfrm>
          <a:off x="1093625" y="2345451"/>
          <a:ext cx="7469860" cy="468925"/>
        </a:xfrm>
        <a:solidFill>
          <a:srgbClr val="002776"/>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Arial"/>
              <a:ea typeface="+mn-ea"/>
              <a:cs typeface="+mn-cs"/>
            </a:rPr>
            <a:t>Committee on National Security Systems Instruction (CNSSI) 1253: </a:t>
          </a:r>
          <a:r>
            <a:rPr lang="en-US" sz="1200" b="0" dirty="0" smtClean="0">
              <a:solidFill>
                <a:srgbClr val="FFFFFF"/>
              </a:solidFill>
              <a:latin typeface="Arial"/>
              <a:ea typeface="+mn-ea"/>
              <a:cs typeface="+mn-cs"/>
            </a:rPr>
            <a:t>Security Categorization and Control Selection for National Security Systems </a:t>
          </a:r>
          <a:endParaRPr lang="en-US" sz="1200" b="1" dirty="0" smtClean="0">
            <a:solidFill>
              <a:srgbClr val="FFFFFF"/>
            </a:solidFill>
            <a:latin typeface="Arial"/>
            <a:ea typeface="+mn-ea"/>
            <a:cs typeface="+mn-cs"/>
          </a:endParaRPr>
        </a:p>
      </dgm:t>
    </dgm:pt>
    <dgm:pt modelId="{C6CB8A93-27E7-4083-93A8-23868EC33372}" type="parTrans" cxnId="{040C43D4-F3C4-4ED1-A70A-6A3CB786BB95}">
      <dgm:prSet/>
      <dgm:spPr/>
      <dgm:t>
        <a:bodyPr/>
        <a:lstStyle/>
        <a:p>
          <a:endParaRPr lang="en-US"/>
        </a:p>
      </dgm:t>
    </dgm:pt>
    <dgm:pt modelId="{43EE805E-E53C-45CD-A8DF-5D302112C2C4}" type="sibTrans" cxnId="{040C43D4-F3C4-4ED1-A70A-6A3CB786BB95}">
      <dgm:prSet/>
      <dgm:spPr/>
      <dgm:t>
        <a:bodyPr/>
        <a:lstStyle/>
        <a:p>
          <a:endParaRPr lang="en-US"/>
        </a:p>
      </dgm:t>
    </dgm:pt>
    <dgm:pt modelId="{50618385-9AE3-41A0-B4FF-DCE00B1D3663}" type="pres">
      <dgm:prSet presAssocID="{5F1D5144-9996-4FF5-81BD-5F8C95224F42}" presName="Name0" presStyleCnt="0">
        <dgm:presLayoutVars>
          <dgm:chMax val="7"/>
          <dgm:chPref val="7"/>
          <dgm:dir/>
        </dgm:presLayoutVars>
      </dgm:prSet>
      <dgm:spPr/>
      <dgm:t>
        <a:bodyPr/>
        <a:lstStyle/>
        <a:p>
          <a:endParaRPr lang="en-US"/>
        </a:p>
      </dgm:t>
    </dgm:pt>
    <dgm:pt modelId="{3F2D1D43-659D-4584-8E92-8842115AC75A}" type="pres">
      <dgm:prSet presAssocID="{5F1D5144-9996-4FF5-81BD-5F8C95224F42}" presName="Name1" presStyleCnt="0"/>
      <dgm:spPr/>
    </dgm:pt>
    <dgm:pt modelId="{C675B8C8-BA1C-4B92-BCAD-5961F18D0D20}" type="pres">
      <dgm:prSet presAssocID="{5F1D5144-9996-4FF5-81BD-5F8C95224F42}" presName="cycle" presStyleCnt="0"/>
      <dgm:spPr/>
    </dgm:pt>
    <dgm:pt modelId="{C65A940D-000B-4A37-9677-0038C8AFDE59}" type="pres">
      <dgm:prSet presAssocID="{5F1D5144-9996-4FF5-81BD-5F8C95224F42}" presName="srcNode" presStyleLbl="node1" presStyleIdx="0" presStyleCnt="6"/>
      <dgm:spPr/>
    </dgm:pt>
    <dgm:pt modelId="{376516E8-35E1-4E6B-91E5-85002178564E}" type="pres">
      <dgm:prSet presAssocID="{5F1D5144-9996-4FF5-81BD-5F8C95224F42}" presName="conn" presStyleLbl="parChTrans1D2" presStyleIdx="0" presStyleCnt="1"/>
      <dgm:spPr>
        <a:prstGeom prst="blockArc">
          <a:avLst>
            <a:gd name="adj1" fmla="val 18900000"/>
            <a:gd name="adj2" fmla="val 2700000"/>
            <a:gd name="adj3" fmla="val 311"/>
          </a:avLst>
        </a:prstGeom>
      </dgm:spPr>
      <dgm:t>
        <a:bodyPr/>
        <a:lstStyle/>
        <a:p>
          <a:endParaRPr lang="en-US"/>
        </a:p>
      </dgm:t>
    </dgm:pt>
    <dgm:pt modelId="{A54D53F9-2276-4339-A3A9-F9546B18C905}" type="pres">
      <dgm:prSet presAssocID="{5F1D5144-9996-4FF5-81BD-5F8C95224F42}" presName="extraNode" presStyleLbl="node1" presStyleIdx="0" presStyleCnt="6"/>
      <dgm:spPr/>
    </dgm:pt>
    <dgm:pt modelId="{A67A75ED-8B9A-44FE-8E3A-F3499B51C024}" type="pres">
      <dgm:prSet presAssocID="{5F1D5144-9996-4FF5-81BD-5F8C95224F42}" presName="dstNode" presStyleLbl="node1" presStyleIdx="0" presStyleCnt="6"/>
      <dgm:spPr/>
    </dgm:pt>
    <dgm:pt modelId="{B3027FED-3AD3-43C9-B3A2-2BE1A699ED7C}" type="pres">
      <dgm:prSet presAssocID="{FB7AA42F-C05D-4DAF-988E-C62C4F0E0CE1}" presName="text_1" presStyleLbl="node1" presStyleIdx="0" presStyleCnt="6" custScaleY="131597">
        <dgm:presLayoutVars>
          <dgm:bulletEnabled val="1"/>
        </dgm:presLayoutVars>
      </dgm:prSet>
      <dgm:spPr>
        <a:prstGeom prst="rect">
          <a:avLst/>
        </a:prstGeom>
      </dgm:spPr>
      <dgm:t>
        <a:bodyPr/>
        <a:lstStyle/>
        <a:p>
          <a:endParaRPr lang="en-US"/>
        </a:p>
      </dgm:t>
    </dgm:pt>
    <dgm:pt modelId="{FF0E2102-6C44-4D6F-8599-50BEF980A7A5}" type="pres">
      <dgm:prSet presAssocID="{FB7AA42F-C05D-4DAF-988E-C62C4F0E0CE1}" presName="accent_1" presStyleCnt="0"/>
      <dgm:spPr/>
    </dgm:pt>
    <dgm:pt modelId="{5974B59A-7BAF-4A56-B9E9-210C526D315B}" type="pres">
      <dgm:prSet presAssocID="{FB7AA42F-C05D-4DAF-988E-C62C4F0E0CE1}" presName="accentRepeatNode" presStyleLbl="solidFgAcc1" presStyleIdx="0" presStyleCnt="6"/>
      <dgm:spPr>
        <a:xfrm>
          <a:off x="68883" y="175950"/>
          <a:ext cx="586156" cy="586156"/>
        </a:xfrm>
        <a:prstGeom prst="ellipse">
          <a:avLst/>
        </a:prstGeom>
        <a:solidFill>
          <a:srgbClr val="FFFFFF">
            <a:hueOff val="0"/>
            <a:satOff val="0"/>
            <a:lumOff val="0"/>
            <a:alphaOff val="0"/>
          </a:srgbClr>
        </a:solidFill>
        <a:ln w="25400" cap="flat" cmpd="sng" algn="ctr">
          <a:solidFill>
            <a:schemeClr val="accent1"/>
          </a:solidFill>
          <a:prstDash val="solid"/>
        </a:ln>
        <a:effectLst/>
      </dgm:spPr>
      <dgm:t>
        <a:bodyPr/>
        <a:lstStyle/>
        <a:p>
          <a:endParaRPr lang="en-US"/>
        </a:p>
      </dgm:t>
    </dgm:pt>
    <dgm:pt modelId="{171AB777-7721-44D2-A14A-120925ED7041}" type="pres">
      <dgm:prSet presAssocID="{F2B876D8-8F43-4EBD-BC47-E57AD3B727AA}" presName="text_2" presStyleLbl="node1" presStyleIdx="1" presStyleCnt="6" custScaleY="131597">
        <dgm:presLayoutVars>
          <dgm:bulletEnabled val="1"/>
        </dgm:presLayoutVars>
      </dgm:prSet>
      <dgm:spPr>
        <a:prstGeom prst="rect">
          <a:avLst/>
        </a:prstGeom>
      </dgm:spPr>
      <dgm:t>
        <a:bodyPr/>
        <a:lstStyle/>
        <a:p>
          <a:endParaRPr lang="en-US"/>
        </a:p>
      </dgm:t>
    </dgm:pt>
    <dgm:pt modelId="{EAA9415A-FFED-48B3-879D-322BD20597FC}" type="pres">
      <dgm:prSet presAssocID="{F2B876D8-8F43-4EBD-BC47-E57AD3B727AA}" presName="accent_2" presStyleCnt="0"/>
      <dgm:spPr/>
    </dgm:pt>
    <dgm:pt modelId="{D179FE36-9E92-4632-945D-DCE58583C91A}" type="pres">
      <dgm:prSet presAssocID="{F2B876D8-8F43-4EBD-BC47-E57AD3B727AA}" presName="accentRepeatNode" presStyleLbl="solidFgAcc1" presStyleIdx="1" presStyleCnt="6"/>
      <dgm:spPr>
        <a:xfrm>
          <a:off x="493537" y="879750"/>
          <a:ext cx="586156" cy="586156"/>
        </a:xfrm>
        <a:prstGeom prst="ellipse">
          <a:avLst/>
        </a:prstGeom>
        <a:solidFill>
          <a:srgbClr val="FFFFFF">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endParaRPr lang="en-US"/>
        </a:p>
      </dgm:t>
    </dgm:pt>
    <dgm:pt modelId="{FADDCA01-A399-497B-982C-9236998AEF5F}" type="pres">
      <dgm:prSet presAssocID="{2DD70670-423F-4331-B473-391EFE138201}" presName="text_3" presStyleLbl="node1" presStyleIdx="2" presStyleCnt="6" custScaleY="131597">
        <dgm:presLayoutVars>
          <dgm:bulletEnabled val="1"/>
        </dgm:presLayoutVars>
      </dgm:prSet>
      <dgm:spPr>
        <a:prstGeom prst="rect">
          <a:avLst/>
        </a:prstGeom>
      </dgm:spPr>
      <dgm:t>
        <a:bodyPr/>
        <a:lstStyle/>
        <a:p>
          <a:endParaRPr lang="en-US"/>
        </a:p>
      </dgm:t>
    </dgm:pt>
    <dgm:pt modelId="{3E92DF4B-735F-4DB5-875C-72F471AA59DA}" type="pres">
      <dgm:prSet presAssocID="{2DD70670-423F-4331-B473-391EFE138201}" presName="accent_3" presStyleCnt="0"/>
      <dgm:spPr/>
    </dgm:pt>
    <dgm:pt modelId="{4CACCA2C-9C86-4779-BFC1-20E8348B1D92}" type="pres">
      <dgm:prSet presAssocID="{2DD70670-423F-4331-B473-391EFE138201}" presName="accentRepeatNode" presStyleLbl="solidFgAcc1" presStyleIdx="2" presStyleCnt="6"/>
      <dgm:spPr>
        <a:xfrm>
          <a:off x="726245" y="1583035"/>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D3CD091A-41E8-4DB6-9133-262D4A8C43C2}" type="pres">
      <dgm:prSet presAssocID="{574C15DD-292D-4E04-BE65-EF94EB27421A}" presName="text_4" presStyleLbl="node1" presStyleIdx="3" presStyleCnt="6" custScaleY="131597">
        <dgm:presLayoutVars>
          <dgm:bulletEnabled val="1"/>
        </dgm:presLayoutVars>
      </dgm:prSet>
      <dgm:spPr>
        <a:prstGeom prst="rect">
          <a:avLst/>
        </a:prstGeom>
      </dgm:spPr>
      <dgm:t>
        <a:bodyPr/>
        <a:lstStyle/>
        <a:p>
          <a:endParaRPr lang="en-US"/>
        </a:p>
      </dgm:t>
    </dgm:pt>
    <dgm:pt modelId="{F61FD925-A4CF-48C8-9DC0-81E2D2A0DDF9}" type="pres">
      <dgm:prSet presAssocID="{574C15DD-292D-4E04-BE65-EF94EB27421A}" presName="accent_4" presStyleCnt="0"/>
      <dgm:spPr/>
    </dgm:pt>
    <dgm:pt modelId="{A2F6966B-1846-4A34-A504-1D14188496A1}" type="pres">
      <dgm:prSet presAssocID="{574C15DD-292D-4E04-BE65-EF94EB27421A}" presName="accentRepeatNode" presStyleLbl="solidFgAcc1" presStyleIdx="3" presStyleCnt="6"/>
      <dgm:spPr>
        <a:xfrm>
          <a:off x="800547" y="2286836"/>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0D6D1B4D-E2FF-460C-9E3C-91363EA46BE6}" type="pres">
      <dgm:prSet presAssocID="{C84975BF-6B6E-4D2B-B4B8-EA4F90DE1846}" presName="text_5" presStyleLbl="node1" presStyleIdx="4" presStyleCnt="6" custScaleY="131597">
        <dgm:presLayoutVars>
          <dgm:bulletEnabled val="1"/>
        </dgm:presLayoutVars>
      </dgm:prSet>
      <dgm:spPr/>
      <dgm:t>
        <a:bodyPr/>
        <a:lstStyle/>
        <a:p>
          <a:endParaRPr lang="en-US"/>
        </a:p>
      </dgm:t>
    </dgm:pt>
    <dgm:pt modelId="{B8EE467A-33DD-45A7-88C3-3B4B3E57F098}" type="pres">
      <dgm:prSet presAssocID="{C84975BF-6B6E-4D2B-B4B8-EA4F90DE1846}" presName="accent_5" presStyleCnt="0"/>
      <dgm:spPr/>
    </dgm:pt>
    <dgm:pt modelId="{A668BEBD-458D-4B3A-9F15-304C674EE1C8}" type="pres">
      <dgm:prSet presAssocID="{C84975BF-6B6E-4D2B-B4B8-EA4F90DE1846}" presName="accentRepeatNode" presStyleLbl="solidFgAcc1" presStyleIdx="4" presStyleCnt="6"/>
      <dgm:spPr>
        <a:ln>
          <a:solidFill>
            <a:srgbClr val="00A1DE"/>
          </a:solidFill>
        </a:ln>
      </dgm:spPr>
      <dgm:t>
        <a:bodyPr/>
        <a:lstStyle/>
        <a:p>
          <a:endParaRPr lang="en-US"/>
        </a:p>
      </dgm:t>
    </dgm:pt>
    <dgm:pt modelId="{72030B6F-5AFB-4978-9185-127475FF3E0B}" type="pres">
      <dgm:prSet presAssocID="{0682B562-B677-4B8B-92EA-1EA691536664}" presName="text_6" presStyleLbl="node1" presStyleIdx="5" presStyleCnt="6" custScaleY="131597">
        <dgm:presLayoutVars>
          <dgm:bulletEnabled val="1"/>
        </dgm:presLayoutVars>
      </dgm:prSet>
      <dgm:spPr/>
      <dgm:t>
        <a:bodyPr/>
        <a:lstStyle/>
        <a:p>
          <a:endParaRPr lang="en-US"/>
        </a:p>
      </dgm:t>
    </dgm:pt>
    <dgm:pt modelId="{49D93655-827D-461D-AF1E-F765598AAA55}" type="pres">
      <dgm:prSet presAssocID="{0682B562-B677-4B8B-92EA-1EA691536664}" presName="accent_6" presStyleCnt="0"/>
      <dgm:spPr/>
    </dgm:pt>
    <dgm:pt modelId="{8EAF113A-B0EE-4C51-8B32-BAA91BB033CA}" type="pres">
      <dgm:prSet presAssocID="{0682B562-B677-4B8B-92EA-1EA691536664}" presName="accentRepeatNode" presStyleLbl="solidFgAcc1" presStyleIdx="5" presStyleCnt="6"/>
      <dgm:spPr>
        <a:ln>
          <a:solidFill>
            <a:schemeClr val="accent1"/>
          </a:solidFill>
        </a:ln>
      </dgm:spPr>
      <dgm:t>
        <a:bodyPr/>
        <a:lstStyle/>
        <a:p>
          <a:endParaRPr lang="en-US"/>
        </a:p>
      </dgm:t>
    </dgm:pt>
  </dgm:ptLst>
  <dgm:cxnLst>
    <dgm:cxn modelId="{486D5004-C5A9-4F53-9B85-7C4A5686DA1C}" type="presOf" srcId="{F2B876D8-8F43-4EBD-BC47-E57AD3B727AA}" destId="{171AB777-7721-44D2-A14A-120925ED7041}" srcOrd="0" destOrd="0" presId="urn:microsoft.com/office/officeart/2008/layout/VerticalCurvedList"/>
    <dgm:cxn modelId="{040C43D4-F3C4-4ED1-A70A-6A3CB786BB95}" srcId="{5F1D5144-9996-4FF5-81BD-5F8C95224F42}" destId="{0682B562-B677-4B8B-92EA-1EA691536664}" srcOrd="5" destOrd="0" parTransId="{C6CB8A93-27E7-4083-93A8-23868EC33372}" sibTransId="{43EE805E-E53C-45CD-A8DF-5D302112C2C4}"/>
    <dgm:cxn modelId="{805AE7BE-0232-40D7-9B59-95AF51922B8D}" type="presOf" srcId="{898AB8E7-1297-4277-8F09-88E2D98FC7C1}" destId="{376516E8-35E1-4E6B-91E5-85002178564E}" srcOrd="0" destOrd="0" presId="urn:microsoft.com/office/officeart/2008/layout/VerticalCurvedList"/>
    <dgm:cxn modelId="{D7E843A3-A943-4636-81BF-3BD3C82D21FF}" srcId="{5F1D5144-9996-4FF5-81BD-5F8C95224F42}" destId="{C84975BF-6B6E-4D2B-B4B8-EA4F90DE1846}" srcOrd="4" destOrd="0" parTransId="{F4714A3D-C7D0-42EB-820F-5CF0BA7515F5}" sibTransId="{D0BA43A6-DA85-4641-B1D5-29B8CD21D351}"/>
    <dgm:cxn modelId="{E54B1581-58FD-42AD-8D79-0B487D5E2A2C}" type="presOf" srcId="{FB7AA42F-C05D-4DAF-988E-C62C4F0E0CE1}" destId="{B3027FED-3AD3-43C9-B3A2-2BE1A699ED7C}" srcOrd="0" destOrd="0" presId="urn:microsoft.com/office/officeart/2008/layout/VerticalCurvedList"/>
    <dgm:cxn modelId="{6BD1A3C6-4F5F-4120-BF19-86BA41673EDC}" type="presOf" srcId="{5F1D5144-9996-4FF5-81BD-5F8C95224F42}" destId="{50618385-9AE3-41A0-B4FF-DCE00B1D3663}" srcOrd="0" destOrd="0" presId="urn:microsoft.com/office/officeart/2008/layout/VerticalCurvedList"/>
    <dgm:cxn modelId="{95544C58-9877-4441-82EF-BF1153C94982}" type="presOf" srcId="{C84975BF-6B6E-4D2B-B4B8-EA4F90DE1846}" destId="{0D6D1B4D-E2FF-460C-9E3C-91363EA46BE6}" srcOrd="0" destOrd="0" presId="urn:microsoft.com/office/officeart/2008/layout/VerticalCurvedList"/>
    <dgm:cxn modelId="{6655903B-7F12-469F-B069-CCC10DC77986}" srcId="{5F1D5144-9996-4FF5-81BD-5F8C95224F42}" destId="{2DD70670-423F-4331-B473-391EFE138201}" srcOrd="2" destOrd="0" parTransId="{DA7A5D78-B824-4AC9-94C3-E366E92F131A}" sibTransId="{58DB3BB4-D332-4CFD-BB68-7648213CCD02}"/>
    <dgm:cxn modelId="{FCAF3116-E126-43EB-BC24-9821F96A16C2}" srcId="{5F1D5144-9996-4FF5-81BD-5F8C95224F42}" destId="{F2B876D8-8F43-4EBD-BC47-E57AD3B727AA}" srcOrd="1" destOrd="0" parTransId="{5DB38B93-792E-468E-8E19-4C28D0879376}" sibTransId="{2EE5FDDA-89E0-43F9-B447-B0BAC724AC5E}"/>
    <dgm:cxn modelId="{7305E12D-BD26-445D-8CE4-88C53C47A03A}" srcId="{5F1D5144-9996-4FF5-81BD-5F8C95224F42}" destId="{FB7AA42F-C05D-4DAF-988E-C62C4F0E0CE1}" srcOrd="0" destOrd="0" parTransId="{66A40A62-A2E6-43F5-B7EC-BDA9E009447D}" sibTransId="{898AB8E7-1297-4277-8F09-88E2D98FC7C1}"/>
    <dgm:cxn modelId="{389B3409-0619-47E7-87A6-2D74BE0FDB78}" type="presOf" srcId="{0682B562-B677-4B8B-92EA-1EA691536664}" destId="{72030B6F-5AFB-4978-9185-127475FF3E0B}" srcOrd="0" destOrd="0" presId="urn:microsoft.com/office/officeart/2008/layout/VerticalCurvedList"/>
    <dgm:cxn modelId="{06BBE35D-CB09-46E4-BCF2-90DE86D11BBB}" srcId="{5F1D5144-9996-4FF5-81BD-5F8C95224F42}" destId="{574C15DD-292D-4E04-BE65-EF94EB27421A}" srcOrd="3" destOrd="0" parTransId="{C7437943-E095-4830-BB71-56BD9B4F9352}" sibTransId="{FD719183-5733-43EA-8430-B513B9580F57}"/>
    <dgm:cxn modelId="{539C0503-C1D2-44C9-8D18-A769A5928CAE}" type="presOf" srcId="{574C15DD-292D-4E04-BE65-EF94EB27421A}" destId="{D3CD091A-41E8-4DB6-9133-262D4A8C43C2}" srcOrd="0" destOrd="0" presId="urn:microsoft.com/office/officeart/2008/layout/VerticalCurvedList"/>
    <dgm:cxn modelId="{05557841-C7EC-41AB-9C4E-40403D27F426}" type="presOf" srcId="{2DD70670-423F-4331-B473-391EFE138201}" destId="{FADDCA01-A399-497B-982C-9236998AEF5F}" srcOrd="0" destOrd="0" presId="urn:microsoft.com/office/officeart/2008/layout/VerticalCurvedList"/>
    <dgm:cxn modelId="{CC0C8D13-87CA-427B-864C-6A4714B53375}" type="presParOf" srcId="{50618385-9AE3-41A0-B4FF-DCE00B1D3663}" destId="{3F2D1D43-659D-4584-8E92-8842115AC75A}" srcOrd="0" destOrd="0" presId="urn:microsoft.com/office/officeart/2008/layout/VerticalCurvedList"/>
    <dgm:cxn modelId="{36FC7E36-C31A-42FE-B778-5C9B420D35BA}" type="presParOf" srcId="{3F2D1D43-659D-4584-8E92-8842115AC75A}" destId="{C675B8C8-BA1C-4B92-BCAD-5961F18D0D20}" srcOrd="0" destOrd="0" presId="urn:microsoft.com/office/officeart/2008/layout/VerticalCurvedList"/>
    <dgm:cxn modelId="{EA1CA240-36BA-42E2-8190-3FB7D2383D9E}" type="presParOf" srcId="{C675B8C8-BA1C-4B92-BCAD-5961F18D0D20}" destId="{C65A940D-000B-4A37-9677-0038C8AFDE59}" srcOrd="0" destOrd="0" presId="urn:microsoft.com/office/officeart/2008/layout/VerticalCurvedList"/>
    <dgm:cxn modelId="{E2A6A2C5-1221-4E58-AE47-B5220298A983}" type="presParOf" srcId="{C675B8C8-BA1C-4B92-BCAD-5961F18D0D20}" destId="{376516E8-35E1-4E6B-91E5-85002178564E}" srcOrd="1" destOrd="0" presId="urn:microsoft.com/office/officeart/2008/layout/VerticalCurvedList"/>
    <dgm:cxn modelId="{C5EAACE1-E3CE-4954-BC24-88D2B96F5554}" type="presParOf" srcId="{C675B8C8-BA1C-4B92-BCAD-5961F18D0D20}" destId="{A54D53F9-2276-4339-A3A9-F9546B18C905}" srcOrd="2" destOrd="0" presId="urn:microsoft.com/office/officeart/2008/layout/VerticalCurvedList"/>
    <dgm:cxn modelId="{AF94A816-696E-4450-962A-5DFC4BBC264A}" type="presParOf" srcId="{C675B8C8-BA1C-4B92-BCAD-5961F18D0D20}" destId="{A67A75ED-8B9A-44FE-8E3A-F3499B51C024}" srcOrd="3" destOrd="0" presId="urn:microsoft.com/office/officeart/2008/layout/VerticalCurvedList"/>
    <dgm:cxn modelId="{F7978391-0EB9-4598-8178-BB0F42933C0B}" type="presParOf" srcId="{3F2D1D43-659D-4584-8E92-8842115AC75A}" destId="{B3027FED-3AD3-43C9-B3A2-2BE1A699ED7C}" srcOrd="1" destOrd="0" presId="urn:microsoft.com/office/officeart/2008/layout/VerticalCurvedList"/>
    <dgm:cxn modelId="{FFC53887-AA64-4ADE-81E5-41FC7EC95F7F}" type="presParOf" srcId="{3F2D1D43-659D-4584-8E92-8842115AC75A}" destId="{FF0E2102-6C44-4D6F-8599-50BEF980A7A5}" srcOrd="2" destOrd="0" presId="urn:microsoft.com/office/officeart/2008/layout/VerticalCurvedList"/>
    <dgm:cxn modelId="{B95E1BC1-1264-4CE4-8D6D-6EC9FBE55931}" type="presParOf" srcId="{FF0E2102-6C44-4D6F-8599-50BEF980A7A5}" destId="{5974B59A-7BAF-4A56-B9E9-210C526D315B}" srcOrd="0" destOrd="0" presId="urn:microsoft.com/office/officeart/2008/layout/VerticalCurvedList"/>
    <dgm:cxn modelId="{45A72EC0-168D-44ED-B93E-AA6CCB61739E}" type="presParOf" srcId="{3F2D1D43-659D-4584-8E92-8842115AC75A}" destId="{171AB777-7721-44D2-A14A-120925ED7041}" srcOrd="3" destOrd="0" presId="urn:microsoft.com/office/officeart/2008/layout/VerticalCurvedList"/>
    <dgm:cxn modelId="{CE1CEB47-64D5-4600-8580-8304C8B5013B}" type="presParOf" srcId="{3F2D1D43-659D-4584-8E92-8842115AC75A}" destId="{EAA9415A-FFED-48B3-879D-322BD20597FC}" srcOrd="4" destOrd="0" presId="urn:microsoft.com/office/officeart/2008/layout/VerticalCurvedList"/>
    <dgm:cxn modelId="{06396DEF-D28D-4106-B472-357420699A2B}" type="presParOf" srcId="{EAA9415A-FFED-48B3-879D-322BD20597FC}" destId="{D179FE36-9E92-4632-945D-DCE58583C91A}" srcOrd="0" destOrd="0" presId="urn:microsoft.com/office/officeart/2008/layout/VerticalCurvedList"/>
    <dgm:cxn modelId="{0B0F7AD0-C093-4585-8E52-BDC2318982E5}" type="presParOf" srcId="{3F2D1D43-659D-4584-8E92-8842115AC75A}" destId="{FADDCA01-A399-497B-982C-9236998AEF5F}" srcOrd="5" destOrd="0" presId="urn:microsoft.com/office/officeart/2008/layout/VerticalCurvedList"/>
    <dgm:cxn modelId="{78A08866-9B82-4018-8621-6CB7AED6466E}" type="presParOf" srcId="{3F2D1D43-659D-4584-8E92-8842115AC75A}" destId="{3E92DF4B-735F-4DB5-875C-72F471AA59DA}" srcOrd="6" destOrd="0" presId="urn:microsoft.com/office/officeart/2008/layout/VerticalCurvedList"/>
    <dgm:cxn modelId="{9AA0C799-B447-48AF-8088-7AFAE70DE465}" type="presParOf" srcId="{3E92DF4B-735F-4DB5-875C-72F471AA59DA}" destId="{4CACCA2C-9C86-4779-BFC1-20E8348B1D92}" srcOrd="0" destOrd="0" presId="urn:microsoft.com/office/officeart/2008/layout/VerticalCurvedList"/>
    <dgm:cxn modelId="{19D40422-398B-4B6C-BC80-D955F7A2C3B0}" type="presParOf" srcId="{3F2D1D43-659D-4584-8E92-8842115AC75A}" destId="{D3CD091A-41E8-4DB6-9133-262D4A8C43C2}" srcOrd="7" destOrd="0" presId="urn:microsoft.com/office/officeart/2008/layout/VerticalCurvedList"/>
    <dgm:cxn modelId="{C6D165DB-5485-4F19-8A4F-4369F03D7742}" type="presParOf" srcId="{3F2D1D43-659D-4584-8E92-8842115AC75A}" destId="{F61FD925-A4CF-48C8-9DC0-81E2D2A0DDF9}" srcOrd="8" destOrd="0" presId="urn:microsoft.com/office/officeart/2008/layout/VerticalCurvedList"/>
    <dgm:cxn modelId="{5217A494-4B2A-47F1-9DB9-69318E007F13}" type="presParOf" srcId="{F61FD925-A4CF-48C8-9DC0-81E2D2A0DDF9}" destId="{A2F6966B-1846-4A34-A504-1D14188496A1}" srcOrd="0" destOrd="0" presId="urn:microsoft.com/office/officeart/2008/layout/VerticalCurvedList"/>
    <dgm:cxn modelId="{8B61481B-738C-4841-9C87-C2D79FB0BF95}" type="presParOf" srcId="{3F2D1D43-659D-4584-8E92-8842115AC75A}" destId="{0D6D1B4D-E2FF-460C-9E3C-91363EA46BE6}" srcOrd="9" destOrd="0" presId="urn:microsoft.com/office/officeart/2008/layout/VerticalCurvedList"/>
    <dgm:cxn modelId="{07299EB8-FB98-4BC6-AA7B-C67450754E16}" type="presParOf" srcId="{3F2D1D43-659D-4584-8E92-8842115AC75A}" destId="{B8EE467A-33DD-45A7-88C3-3B4B3E57F098}" srcOrd="10" destOrd="0" presId="urn:microsoft.com/office/officeart/2008/layout/VerticalCurvedList"/>
    <dgm:cxn modelId="{C1FA0AF2-E583-41A2-A0D5-A6E06CEBBC51}" type="presParOf" srcId="{B8EE467A-33DD-45A7-88C3-3B4B3E57F098}" destId="{A668BEBD-458D-4B3A-9F15-304C674EE1C8}" srcOrd="0" destOrd="0" presId="urn:microsoft.com/office/officeart/2008/layout/VerticalCurvedList"/>
    <dgm:cxn modelId="{94038489-5C64-4193-A0BC-96E663FE5FDE}" type="presParOf" srcId="{3F2D1D43-659D-4584-8E92-8842115AC75A}" destId="{72030B6F-5AFB-4978-9185-127475FF3E0B}" srcOrd="11" destOrd="0" presId="urn:microsoft.com/office/officeart/2008/layout/VerticalCurvedList"/>
    <dgm:cxn modelId="{13E4AF24-7AF0-4F2E-B0FB-91CC3D9CA8E7}" type="presParOf" srcId="{3F2D1D43-659D-4584-8E92-8842115AC75A}" destId="{49D93655-827D-461D-AF1E-F765598AAA55}" srcOrd="12" destOrd="0" presId="urn:microsoft.com/office/officeart/2008/layout/VerticalCurvedList"/>
    <dgm:cxn modelId="{C30F1DBA-2D4A-4131-B07B-28BCA1BFEB11}" type="presParOf" srcId="{49D93655-827D-461D-AF1E-F765598AAA55}" destId="{8EAF113A-B0EE-4C51-8B32-BAA91BB033C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1332986" y="-5540"/>
          <a:ext cx="4387967" cy="4387967"/>
        </a:xfrm>
        <a:prstGeom prst="circularArrow">
          <a:avLst>
            <a:gd name="adj1" fmla="val 5274"/>
            <a:gd name="adj2" fmla="val 312630"/>
            <a:gd name="adj3" fmla="val 14243993"/>
            <a:gd name="adj4" fmla="val 17117743"/>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2700336" y="46"/>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2740689" y="40399"/>
        <a:ext cx="1572561" cy="745927"/>
      </dsp:txXfrm>
    </dsp:sp>
    <dsp:sp modelId="{1E763684-8221-4BBC-AF24-B8B55BF120DA}">
      <dsp:nvSpPr>
        <dsp:cNvPr id="0" name=""/>
        <dsp:cNvSpPr/>
      </dsp:nvSpPr>
      <dsp:spPr>
        <a:xfrm>
          <a:off x="4241955" y="890100"/>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4282308" y="930453"/>
        <a:ext cx="1572561" cy="745927"/>
      </dsp:txXfrm>
    </dsp:sp>
    <dsp:sp modelId="{AFBED32E-C73D-4A25-BE02-44170F373D35}">
      <dsp:nvSpPr>
        <dsp:cNvPr id="0" name=""/>
        <dsp:cNvSpPr/>
      </dsp:nvSpPr>
      <dsp:spPr>
        <a:xfrm>
          <a:off x="4241955" y="2670208"/>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4282308" y="2710561"/>
        <a:ext cx="1572561" cy="745927"/>
      </dsp:txXfrm>
    </dsp:sp>
    <dsp:sp modelId="{3920C4B2-D7C1-42B4-B76B-33700DCDF627}">
      <dsp:nvSpPr>
        <dsp:cNvPr id="0" name=""/>
        <dsp:cNvSpPr/>
      </dsp:nvSpPr>
      <dsp:spPr>
        <a:xfrm>
          <a:off x="2700336" y="3560263"/>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2740689" y="3600616"/>
        <a:ext cx="1572561" cy="745927"/>
      </dsp:txXfrm>
    </dsp:sp>
    <dsp:sp modelId="{1CAA9F8B-9D22-45A8-8432-7E1ADFE57909}">
      <dsp:nvSpPr>
        <dsp:cNvPr id="0" name=""/>
        <dsp:cNvSpPr/>
      </dsp:nvSpPr>
      <dsp:spPr>
        <a:xfrm>
          <a:off x="1158717" y="2670208"/>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1199070" y="2710561"/>
        <a:ext cx="1572561" cy="745927"/>
      </dsp:txXfrm>
    </dsp:sp>
    <dsp:sp modelId="{E799485A-A9A9-44FE-8B8B-C4710711D4BB}">
      <dsp:nvSpPr>
        <dsp:cNvPr id="0" name=""/>
        <dsp:cNvSpPr/>
      </dsp:nvSpPr>
      <dsp:spPr>
        <a:xfrm>
          <a:off x="1158717" y="890100"/>
          <a:ext cx="1653267" cy="82663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1199070" y="930453"/>
        <a:ext cx="1572561" cy="7459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DEF44-EAA5-4BB8-87A7-7C641633305B}">
      <dsp:nvSpPr>
        <dsp:cNvPr id="0" name=""/>
        <dsp:cNvSpPr/>
      </dsp:nvSpPr>
      <dsp:spPr>
        <a:xfrm>
          <a:off x="965272" y="-3543"/>
          <a:ext cx="2958956" cy="2958956"/>
        </a:xfrm>
        <a:prstGeom prst="circularArrow">
          <a:avLst>
            <a:gd name="adj1" fmla="val 5274"/>
            <a:gd name="adj2" fmla="val 312630"/>
            <a:gd name="adj3" fmla="val 14299771"/>
            <a:gd name="adj4" fmla="val 17085218"/>
            <a:gd name="adj5" fmla="val 5477"/>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455F7366-7D9C-4DE7-B8EB-653DEDD27206}">
      <dsp:nvSpPr>
        <dsp:cNvPr id="0" name=""/>
        <dsp:cNvSpPr/>
      </dsp:nvSpPr>
      <dsp:spPr>
        <a:xfrm>
          <a:off x="1905186" y="997"/>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1. Categorize the Information System</a:t>
          </a:r>
          <a:endParaRPr lang="en-US" sz="1000" b="1" kern="1200" dirty="0"/>
        </a:p>
      </dsp:txBody>
      <dsp:txXfrm>
        <a:off x="1931525" y="27336"/>
        <a:ext cx="1026450" cy="486886"/>
      </dsp:txXfrm>
    </dsp:sp>
    <dsp:sp modelId="{1E763684-8221-4BBC-AF24-B8B55BF120DA}">
      <dsp:nvSpPr>
        <dsp:cNvPr id="0" name=""/>
        <dsp:cNvSpPr/>
      </dsp:nvSpPr>
      <dsp:spPr>
        <a:xfrm>
          <a:off x="2944752" y="601191"/>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2. Select Security Controls</a:t>
          </a:r>
          <a:endParaRPr lang="en-US" sz="1000" b="1" kern="1200" dirty="0"/>
        </a:p>
      </dsp:txBody>
      <dsp:txXfrm>
        <a:off x="2971091" y="627530"/>
        <a:ext cx="1026450" cy="486886"/>
      </dsp:txXfrm>
    </dsp:sp>
    <dsp:sp modelId="{AFBED32E-C73D-4A25-BE02-44170F373D35}">
      <dsp:nvSpPr>
        <dsp:cNvPr id="0" name=""/>
        <dsp:cNvSpPr/>
      </dsp:nvSpPr>
      <dsp:spPr>
        <a:xfrm>
          <a:off x="2944752"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3. Implement Security Controls</a:t>
          </a:r>
          <a:endParaRPr lang="en-US" sz="1000" b="1" kern="1200" dirty="0"/>
        </a:p>
      </dsp:txBody>
      <dsp:txXfrm>
        <a:off x="2971091" y="1827918"/>
        <a:ext cx="1026450" cy="486886"/>
      </dsp:txXfrm>
    </dsp:sp>
    <dsp:sp modelId="{3920C4B2-D7C1-42B4-B76B-33700DCDF627}">
      <dsp:nvSpPr>
        <dsp:cNvPr id="0" name=""/>
        <dsp:cNvSpPr/>
      </dsp:nvSpPr>
      <dsp:spPr>
        <a:xfrm>
          <a:off x="1905186" y="2401774"/>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4. Assess Security Controls</a:t>
          </a:r>
          <a:endParaRPr lang="en-US" sz="1000" b="1" kern="1200" dirty="0"/>
        </a:p>
      </dsp:txBody>
      <dsp:txXfrm>
        <a:off x="1931525" y="2428113"/>
        <a:ext cx="1026450" cy="486886"/>
      </dsp:txXfrm>
    </dsp:sp>
    <dsp:sp modelId="{1CAA9F8B-9D22-45A8-8432-7E1ADFE57909}">
      <dsp:nvSpPr>
        <dsp:cNvPr id="0" name=""/>
        <dsp:cNvSpPr/>
      </dsp:nvSpPr>
      <dsp:spPr>
        <a:xfrm>
          <a:off x="865619" y="1801579"/>
          <a:ext cx="1079128" cy="53956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5. Authorize the Information System</a:t>
          </a:r>
          <a:endParaRPr lang="en-US" sz="1000" b="1" kern="1200" dirty="0"/>
        </a:p>
      </dsp:txBody>
      <dsp:txXfrm>
        <a:off x="891958" y="1827918"/>
        <a:ext cx="1026450" cy="486886"/>
      </dsp:txXfrm>
    </dsp:sp>
    <dsp:sp modelId="{E799485A-A9A9-44FE-8B8B-C4710711D4BB}">
      <dsp:nvSpPr>
        <dsp:cNvPr id="0" name=""/>
        <dsp:cNvSpPr/>
      </dsp:nvSpPr>
      <dsp:spPr>
        <a:xfrm>
          <a:off x="865619" y="601191"/>
          <a:ext cx="1079128" cy="5395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6. Monitor the Information System</a:t>
          </a:r>
          <a:endParaRPr lang="en-US" sz="1000" b="1" kern="1200" dirty="0"/>
        </a:p>
      </dsp:txBody>
      <dsp:txXfrm>
        <a:off x="891958" y="627530"/>
        <a:ext cx="1026450" cy="48688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6516E8-35E1-4E6B-91E5-85002178564E}">
      <dsp:nvSpPr>
        <dsp:cNvPr id="0" name=""/>
        <dsp:cNvSpPr/>
      </dsp:nvSpPr>
      <dsp:spPr>
        <a:xfrm>
          <a:off x="-3580625" y="-550297"/>
          <a:ext cx="4268601" cy="4268601"/>
        </a:xfrm>
        <a:prstGeom prst="blockArc">
          <a:avLst>
            <a:gd name="adj1" fmla="val 18900000"/>
            <a:gd name="adj2" fmla="val 2700000"/>
            <a:gd name="adj3" fmla="val 311"/>
          </a:avLst>
        </a:prstGeom>
        <a:noFill/>
        <a:ln w="25400" cap="flat" cmpd="sng" algn="ctr">
          <a:solidFill>
            <a:srgbClr val="002776"/>
          </a:solidFill>
          <a:prstDash val="solid"/>
        </a:ln>
        <a:effectLst/>
      </dsp:spPr>
      <dsp:style>
        <a:lnRef idx="2">
          <a:scrgbClr r="0" g="0" b="0"/>
        </a:lnRef>
        <a:fillRef idx="0">
          <a:scrgbClr r="0" g="0" b="0"/>
        </a:fillRef>
        <a:effectRef idx="0">
          <a:scrgbClr r="0" g="0" b="0"/>
        </a:effectRef>
        <a:fontRef idx="minor"/>
      </dsp:style>
    </dsp:sp>
    <dsp:sp modelId="{B3027FED-3AD3-43C9-B3A2-2BE1A699ED7C}">
      <dsp:nvSpPr>
        <dsp:cNvPr id="0" name=""/>
        <dsp:cNvSpPr/>
      </dsp:nvSpPr>
      <dsp:spPr>
        <a:xfrm>
          <a:off x="257707" y="114134"/>
          <a:ext cx="5815457" cy="438912"/>
        </a:xfrm>
        <a:prstGeom prst="rect">
          <a:avLst/>
        </a:prstGeom>
        <a:solidFill>
          <a:schemeClr val="accent1"/>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chemeClr val="bg1"/>
              </a:solidFill>
              <a:latin typeface="Arial" pitchFamily="34" charset="0"/>
              <a:cs typeface="Arial" pitchFamily="34" charset="0"/>
            </a:rPr>
            <a:t>National Industrial Security Program Operating Manual (NISPOM)</a:t>
          </a:r>
          <a:endParaRPr lang="en-US" sz="1200" kern="1200" dirty="0">
            <a:solidFill>
              <a:srgbClr val="FFFFFF"/>
            </a:solidFill>
            <a:latin typeface="Arial"/>
            <a:ea typeface="+mn-ea"/>
            <a:cs typeface="+mn-cs"/>
          </a:endParaRPr>
        </a:p>
      </dsp:txBody>
      <dsp:txXfrm>
        <a:off x="257707" y="114134"/>
        <a:ext cx="5815457" cy="438912"/>
      </dsp:txXfrm>
    </dsp:sp>
    <dsp:sp modelId="{5974B59A-7BAF-4A56-B9E9-210C526D315B}">
      <dsp:nvSpPr>
        <dsp:cNvPr id="0" name=""/>
        <dsp:cNvSpPr/>
      </dsp:nvSpPr>
      <dsp:spPr>
        <a:xfrm>
          <a:off x="49252" y="125136"/>
          <a:ext cx="416909" cy="416909"/>
        </a:xfrm>
        <a:prstGeom prst="ellipse">
          <a:avLst/>
        </a:prstGeom>
        <a:solidFill>
          <a:srgbClr val="FFFFFF">
            <a:hueOff val="0"/>
            <a:satOff val="0"/>
            <a:lumOff val="0"/>
            <a:alphaOff val="0"/>
          </a:srgb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171AB777-7721-44D2-A14A-120925ED7041}">
      <dsp:nvSpPr>
        <dsp:cNvPr id="0" name=""/>
        <dsp:cNvSpPr/>
      </dsp:nvSpPr>
      <dsp:spPr>
        <a:xfrm>
          <a:off x="532057" y="614363"/>
          <a:ext cx="5541108" cy="438912"/>
        </a:xfrm>
        <a:prstGeom prst="rect">
          <a:avLst/>
        </a:prstGeom>
        <a:solidFill>
          <a:srgbClr val="00A1DE">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chemeClr val="bg1"/>
              </a:solidFill>
              <a:latin typeface="Arial" pitchFamily="34" charset="0"/>
              <a:cs typeface="Arial" pitchFamily="34" charset="0"/>
            </a:rPr>
            <a:t>NIST SP 800-37: </a:t>
          </a:r>
          <a:r>
            <a:rPr lang="en-US" sz="1200" kern="1200" dirty="0" smtClean="0">
              <a:solidFill>
                <a:schemeClr val="bg1"/>
              </a:solidFill>
              <a:latin typeface="Arial" pitchFamily="34" charset="0"/>
              <a:cs typeface="Arial" pitchFamily="34" charset="0"/>
            </a:rPr>
            <a:t>Guide for Applying the Risk Management Framework to Federal Information Systems</a:t>
          </a:r>
          <a:endParaRPr lang="en-US" sz="1200" b="0" kern="1200" dirty="0" smtClean="0">
            <a:solidFill>
              <a:srgbClr val="FFFFFF"/>
            </a:solidFill>
            <a:latin typeface="Arial"/>
            <a:ea typeface="+mn-ea"/>
            <a:cs typeface="+mn-cs"/>
          </a:endParaRPr>
        </a:p>
      </dsp:txBody>
      <dsp:txXfrm>
        <a:off x="532057" y="614363"/>
        <a:ext cx="5541108" cy="438912"/>
      </dsp:txXfrm>
    </dsp:sp>
    <dsp:sp modelId="{D179FE36-9E92-4632-945D-DCE58583C91A}">
      <dsp:nvSpPr>
        <dsp:cNvPr id="0" name=""/>
        <dsp:cNvSpPr/>
      </dsp:nvSpPr>
      <dsp:spPr>
        <a:xfrm>
          <a:off x="323602" y="625364"/>
          <a:ext cx="416909" cy="416909"/>
        </a:xfrm>
        <a:prstGeom prst="ellipse">
          <a:avLst/>
        </a:prstGeom>
        <a:solidFill>
          <a:srgbClr val="FFFFFF">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sp>
    <dsp:sp modelId="{FADDCA01-A399-497B-982C-9236998AEF5F}">
      <dsp:nvSpPr>
        <dsp:cNvPr id="0" name=""/>
        <dsp:cNvSpPr/>
      </dsp:nvSpPr>
      <dsp:spPr>
        <a:xfrm>
          <a:off x="657510" y="1114591"/>
          <a:ext cx="5415655" cy="438912"/>
        </a:xfrm>
        <a:prstGeom prst="rect">
          <a:avLst/>
        </a:prstGeom>
        <a:solidFill>
          <a:schemeClr val="accent2"/>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rgbClr val="FFFFFF"/>
              </a:solidFill>
              <a:latin typeface="Arial"/>
              <a:ea typeface="+mn-ea"/>
              <a:cs typeface="+mn-cs"/>
            </a:rPr>
            <a:t>NIST SP 800-137: </a:t>
          </a:r>
          <a:r>
            <a:rPr lang="en-US" sz="1200" b="0" kern="1200" dirty="0" smtClean="0">
              <a:solidFill>
                <a:srgbClr val="FFFFFF"/>
              </a:solidFill>
              <a:latin typeface="Arial"/>
              <a:ea typeface="+mn-ea"/>
              <a:cs typeface="+mn-cs"/>
            </a:rPr>
            <a:t>Information Security Continuous Monitoring (ISCM) for Federal Information Systems and Organizations</a:t>
          </a:r>
        </a:p>
      </dsp:txBody>
      <dsp:txXfrm>
        <a:off x="657510" y="1114591"/>
        <a:ext cx="5415655" cy="438912"/>
      </dsp:txXfrm>
    </dsp:sp>
    <dsp:sp modelId="{4CACCA2C-9C86-4779-BFC1-20E8348B1D92}">
      <dsp:nvSpPr>
        <dsp:cNvPr id="0" name=""/>
        <dsp:cNvSpPr/>
      </dsp:nvSpPr>
      <dsp:spPr>
        <a:xfrm>
          <a:off x="449055" y="1125592"/>
          <a:ext cx="416909" cy="416909"/>
        </a:xfrm>
        <a:prstGeom prst="ellipse">
          <a:avLst/>
        </a:prstGeom>
        <a:solidFill>
          <a:srgbClr val="FFFFFF">
            <a:hueOff val="0"/>
            <a:satOff val="0"/>
            <a:lumOff val="0"/>
            <a:alphaOff val="0"/>
          </a:srgbClr>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dsp:style>
    </dsp:sp>
    <dsp:sp modelId="{D3CD091A-41E8-4DB6-9133-262D4A8C43C2}">
      <dsp:nvSpPr>
        <dsp:cNvPr id="0" name=""/>
        <dsp:cNvSpPr/>
      </dsp:nvSpPr>
      <dsp:spPr>
        <a:xfrm>
          <a:off x="657510" y="1614502"/>
          <a:ext cx="5415655" cy="438912"/>
        </a:xfrm>
        <a:prstGeom prst="rect">
          <a:avLst/>
        </a:prstGeom>
        <a:solidFill>
          <a:schemeClr val="accent2"/>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chemeClr val="bg1"/>
              </a:solidFill>
              <a:latin typeface="Arial" pitchFamily="34" charset="0"/>
              <a:cs typeface="Arial" pitchFamily="34" charset="0"/>
            </a:rPr>
            <a:t>NIST SP 800-53: </a:t>
          </a:r>
          <a:r>
            <a:rPr lang="en-US" sz="1200" kern="1200" dirty="0" smtClean="0">
              <a:solidFill>
                <a:schemeClr val="bg1"/>
              </a:solidFill>
              <a:latin typeface="Arial" pitchFamily="34" charset="0"/>
              <a:cs typeface="Arial" pitchFamily="34" charset="0"/>
            </a:rPr>
            <a:t>Security and Privacy Controls for Federal Information Systems and Organizations</a:t>
          </a:r>
          <a:endParaRPr lang="en-US" sz="1200" b="0" kern="1200" dirty="0" smtClean="0">
            <a:solidFill>
              <a:srgbClr val="FFFFFF"/>
            </a:solidFill>
            <a:latin typeface="Arial"/>
            <a:ea typeface="+mn-ea"/>
            <a:cs typeface="+mn-cs"/>
          </a:endParaRPr>
        </a:p>
      </dsp:txBody>
      <dsp:txXfrm>
        <a:off x="657510" y="1614502"/>
        <a:ext cx="5415655" cy="438912"/>
      </dsp:txXfrm>
    </dsp:sp>
    <dsp:sp modelId="{A2F6966B-1846-4A34-A504-1D14188496A1}">
      <dsp:nvSpPr>
        <dsp:cNvPr id="0" name=""/>
        <dsp:cNvSpPr/>
      </dsp:nvSpPr>
      <dsp:spPr>
        <a:xfrm>
          <a:off x="449055" y="1625504"/>
          <a:ext cx="416909" cy="416909"/>
        </a:xfrm>
        <a:prstGeom prst="ellipse">
          <a:avLst/>
        </a:prstGeom>
        <a:solidFill>
          <a:srgbClr val="FFFFFF">
            <a:hueOff val="0"/>
            <a:satOff val="0"/>
            <a:lumOff val="0"/>
            <a:alphaOff val="0"/>
          </a:srgbClr>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dsp:style>
    </dsp:sp>
    <dsp:sp modelId="{0D6D1B4D-E2FF-460C-9E3C-91363EA46BE6}">
      <dsp:nvSpPr>
        <dsp:cNvPr id="0" name=""/>
        <dsp:cNvSpPr/>
      </dsp:nvSpPr>
      <dsp:spPr>
        <a:xfrm>
          <a:off x="532057" y="2114731"/>
          <a:ext cx="5541108" cy="438912"/>
        </a:xfrm>
        <a:prstGeom prst="rect">
          <a:avLst/>
        </a:prstGeom>
        <a:solidFill>
          <a:schemeClr val="accent3"/>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rgbClr val="FFFFFF"/>
              </a:solidFill>
              <a:latin typeface="Arial"/>
              <a:ea typeface="+mn-ea"/>
              <a:cs typeface="+mn-cs"/>
            </a:rPr>
            <a:t>NIST SP 800-53A: </a:t>
          </a:r>
          <a:r>
            <a:rPr lang="en-US" sz="1200" b="0" kern="1200" dirty="0" smtClean="0">
              <a:solidFill>
                <a:srgbClr val="FFFFFF"/>
              </a:solidFill>
              <a:latin typeface="Arial"/>
              <a:ea typeface="+mn-ea"/>
              <a:cs typeface="+mn-cs"/>
            </a:rPr>
            <a:t>Assessing Security and Privacy Controls in Federal Information Systems and Organizations: Building Effective Assessment Plans</a:t>
          </a:r>
        </a:p>
      </dsp:txBody>
      <dsp:txXfrm>
        <a:off x="532057" y="2114731"/>
        <a:ext cx="5541108" cy="438912"/>
      </dsp:txXfrm>
    </dsp:sp>
    <dsp:sp modelId="{A668BEBD-458D-4B3A-9F15-304C674EE1C8}">
      <dsp:nvSpPr>
        <dsp:cNvPr id="0" name=""/>
        <dsp:cNvSpPr/>
      </dsp:nvSpPr>
      <dsp:spPr>
        <a:xfrm>
          <a:off x="323602" y="2125732"/>
          <a:ext cx="416909" cy="416909"/>
        </a:xfrm>
        <a:prstGeom prst="ellipse">
          <a:avLst/>
        </a:prstGeom>
        <a:solidFill>
          <a:schemeClr val="lt1">
            <a:hueOff val="0"/>
            <a:satOff val="0"/>
            <a:lumOff val="0"/>
            <a:alphaOff val="0"/>
          </a:schemeClr>
        </a:solidFill>
        <a:ln w="25400" cap="flat" cmpd="sng" algn="ctr">
          <a:solidFill>
            <a:srgbClr val="00A1DE"/>
          </a:solidFill>
          <a:prstDash val="solid"/>
        </a:ln>
        <a:effectLst/>
      </dsp:spPr>
      <dsp:style>
        <a:lnRef idx="2">
          <a:scrgbClr r="0" g="0" b="0"/>
        </a:lnRef>
        <a:fillRef idx="1">
          <a:scrgbClr r="0" g="0" b="0"/>
        </a:fillRef>
        <a:effectRef idx="0">
          <a:scrgbClr r="0" g="0" b="0"/>
        </a:effectRef>
        <a:fontRef idx="minor"/>
      </dsp:style>
    </dsp:sp>
    <dsp:sp modelId="{72030B6F-5AFB-4978-9185-127475FF3E0B}">
      <dsp:nvSpPr>
        <dsp:cNvPr id="0" name=""/>
        <dsp:cNvSpPr/>
      </dsp:nvSpPr>
      <dsp:spPr>
        <a:xfrm>
          <a:off x="257707" y="2614959"/>
          <a:ext cx="5815457" cy="438912"/>
        </a:xfrm>
        <a:prstGeom prst="rect">
          <a:avLst/>
        </a:prstGeom>
        <a:solidFill>
          <a:srgbClr val="002776"/>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4738" tIns="30480" rIns="30480" bIns="30480" numCol="1" spcCol="1270" anchor="ctr" anchorCtr="0">
          <a:noAutofit/>
        </a:bodyPr>
        <a:lstStyle/>
        <a:p>
          <a:pPr lvl="0" algn="l" defTabSz="533400">
            <a:lnSpc>
              <a:spcPct val="80000"/>
            </a:lnSpc>
            <a:spcBef>
              <a:spcPct val="0"/>
            </a:spcBef>
            <a:spcAft>
              <a:spcPct val="35000"/>
            </a:spcAft>
          </a:pPr>
          <a:r>
            <a:rPr lang="en-US" sz="1200" b="1" kern="1200" dirty="0" smtClean="0">
              <a:solidFill>
                <a:srgbClr val="FFFFFF"/>
              </a:solidFill>
              <a:latin typeface="Arial"/>
              <a:ea typeface="+mn-ea"/>
              <a:cs typeface="+mn-cs"/>
            </a:rPr>
            <a:t>Committee on National Security Systems Instruction (CNSSI) 1253: </a:t>
          </a:r>
          <a:r>
            <a:rPr lang="en-US" sz="1200" b="0" kern="1200" dirty="0" smtClean="0">
              <a:solidFill>
                <a:srgbClr val="FFFFFF"/>
              </a:solidFill>
              <a:latin typeface="Arial"/>
              <a:ea typeface="+mn-ea"/>
              <a:cs typeface="+mn-cs"/>
            </a:rPr>
            <a:t>Security Categorization and Control Selection for National Security Systems </a:t>
          </a:r>
          <a:endParaRPr lang="en-US" sz="1200" b="1" kern="1200" dirty="0" smtClean="0">
            <a:solidFill>
              <a:srgbClr val="FFFFFF"/>
            </a:solidFill>
            <a:latin typeface="Arial"/>
            <a:ea typeface="+mn-ea"/>
            <a:cs typeface="+mn-cs"/>
          </a:endParaRPr>
        </a:p>
      </dsp:txBody>
      <dsp:txXfrm>
        <a:off x="257707" y="2614959"/>
        <a:ext cx="5815457" cy="438912"/>
      </dsp:txXfrm>
    </dsp:sp>
    <dsp:sp modelId="{8EAF113A-B0EE-4C51-8B32-BAA91BB033CA}">
      <dsp:nvSpPr>
        <dsp:cNvPr id="0" name=""/>
        <dsp:cNvSpPr/>
      </dsp:nvSpPr>
      <dsp:spPr>
        <a:xfrm>
          <a:off x="49252" y="2625961"/>
          <a:ext cx="416909" cy="416909"/>
        </a:xfrm>
        <a:prstGeom prst="ellipse">
          <a:avLst/>
        </a:prstGeom>
        <a:solidFill>
          <a:schemeClr val="lt1">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1810" name="Rectangle 2"/>
          <p:cNvSpPr>
            <a:spLocks noGrp="1" noChangeArrowheads="1"/>
          </p:cNvSpPr>
          <p:nvPr>
            <p:ph type="hdr" sz="quarter"/>
          </p:nvPr>
        </p:nvSpPr>
        <p:spPr bwMode="auto">
          <a:xfrm>
            <a:off x="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1" name="Rectangle 3"/>
          <p:cNvSpPr>
            <a:spLocks noGrp="1" noChangeArrowheads="1"/>
          </p:cNvSpPr>
          <p:nvPr>
            <p:ph type="dt" sz="quarter" idx="1"/>
          </p:nvPr>
        </p:nvSpPr>
        <p:spPr bwMode="auto">
          <a:xfrm>
            <a:off x="388339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2" name="Rectangle 4"/>
          <p:cNvSpPr>
            <a:spLocks noGrp="1" noChangeArrowheads="1"/>
          </p:cNvSpPr>
          <p:nvPr>
            <p:ph type="ftr" sz="quarter" idx="2"/>
          </p:nvPr>
        </p:nvSpPr>
        <p:spPr bwMode="auto">
          <a:xfrm>
            <a:off x="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3" name="Rectangle 5"/>
          <p:cNvSpPr>
            <a:spLocks noGrp="1" noChangeArrowheads="1"/>
          </p:cNvSpPr>
          <p:nvPr>
            <p:ph type="sldNum" sz="quarter" idx="3"/>
          </p:nvPr>
        </p:nvSpPr>
        <p:spPr bwMode="auto">
          <a:xfrm>
            <a:off x="388339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fld id="{C224D01B-42C8-497E-8FA1-9576DCC67020}" type="slidenum">
              <a:rPr lang="en-US"/>
              <a:pPr>
                <a:defRPr/>
              </a:pPr>
              <a:t>‹#›</a:t>
            </a:fld>
            <a:endParaRPr lang="en-US" dirty="0"/>
          </a:p>
        </p:txBody>
      </p:sp>
    </p:spTree>
    <p:extLst>
      <p:ext uri="{BB962C8B-B14F-4D97-AF65-F5344CB8AC3E}">
        <p14:creationId xmlns:p14="http://schemas.microsoft.com/office/powerpoint/2010/main" val="4062340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3" name="Rectangle 3"/>
          <p:cNvSpPr>
            <a:spLocks noGrp="1" noChangeArrowheads="1"/>
          </p:cNvSpPr>
          <p:nvPr>
            <p:ph type="dt" idx="1"/>
          </p:nvPr>
        </p:nvSpPr>
        <p:spPr bwMode="auto">
          <a:xfrm>
            <a:off x="388339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endParaRPr lang="en-US" dirty="0"/>
          </a:p>
        </p:txBody>
      </p:sp>
      <p:sp>
        <p:nvSpPr>
          <p:cNvPr id="60420" name="Rectangle 4"/>
          <p:cNvSpPr>
            <a:spLocks noGrp="1" noRot="1" noChangeAspect="1" noChangeArrowheads="1" noTextEdit="1"/>
          </p:cNvSpPr>
          <p:nvPr>
            <p:ph type="sldImg" idx="2"/>
          </p:nvPr>
        </p:nvSpPr>
        <p:spPr bwMode="auto">
          <a:xfrm>
            <a:off x="1108075" y="708025"/>
            <a:ext cx="4646613"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28690" y="4422959"/>
            <a:ext cx="5000625" cy="4166117"/>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88339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fld id="{0A2EA4F6-61E5-4A91-98AE-2056DF8CE19B}" type="slidenum">
              <a:rPr lang="en-US"/>
              <a:pPr>
                <a:defRPr/>
              </a:pPr>
              <a:t>‹#›</a:t>
            </a:fld>
            <a:endParaRPr lang="en-US" dirty="0"/>
          </a:p>
        </p:txBody>
      </p:sp>
    </p:spTree>
    <p:extLst>
      <p:ext uri="{BB962C8B-B14F-4D97-AF65-F5344CB8AC3E}">
        <p14:creationId xmlns:p14="http://schemas.microsoft.com/office/powerpoint/2010/main" val="3438085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B67D2754-7CD9-48EF-85B4-662B80ECFA8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94394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045609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9393697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7</a:t>
            </a:fld>
            <a:endParaRPr lang="en-US" dirty="0">
              <a:solidFill>
                <a:srgbClr val="000000"/>
              </a:solidFill>
            </a:endParaRPr>
          </a:p>
        </p:txBody>
      </p:sp>
    </p:spTree>
    <p:extLst>
      <p:ext uri="{BB962C8B-B14F-4D97-AF65-F5344CB8AC3E}">
        <p14:creationId xmlns:p14="http://schemas.microsoft.com/office/powerpoint/2010/main" val="32064368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8</a:t>
            </a:fld>
            <a:endParaRPr lang="en-US" dirty="0">
              <a:solidFill>
                <a:srgbClr val="000000"/>
              </a:solidFill>
            </a:endParaRPr>
          </a:p>
        </p:txBody>
      </p:sp>
    </p:spTree>
    <p:extLst>
      <p:ext uri="{BB962C8B-B14F-4D97-AF65-F5344CB8AC3E}">
        <p14:creationId xmlns:p14="http://schemas.microsoft.com/office/powerpoint/2010/main" val="3381050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9</a:t>
            </a:fld>
            <a:endParaRPr lang="en-US" dirty="0">
              <a:solidFill>
                <a:srgbClr val="000000"/>
              </a:solidFill>
            </a:endParaRPr>
          </a:p>
        </p:txBody>
      </p:sp>
    </p:spTree>
    <p:extLst>
      <p:ext uri="{BB962C8B-B14F-4D97-AF65-F5344CB8AC3E}">
        <p14:creationId xmlns:p14="http://schemas.microsoft.com/office/powerpoint/2010/main" val="2076690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a:t>
            </a:fld>
            <a:endParaRPr lang="en-US" dirty="0"/>
          </a:p>
        </p:txBody>
      </p:sp>
    </p:spTree>
    <p:extLst>
      <p:ext uri="{BB962C8B-B14F-4D97-AF65-F5344CB8AC3E}">
        <p14:creationId xmlns:p14="http://schemas.microsoft.com/office/powerpoint/2010/main" val="3640322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0</a:t>
            </a:fld>
            <a:endParaRPr lang="en-US" dirty="0">
              <a:solidFill>
                <a:srgbClr val="000000"/>
              </a:solidFill>
            </a:endParaRPr>
          </a:p>
        </p:txBody>
      </p:sp>
    </p:spTree>
    <p:extLst>
      <p:ext uri="{BB962C8B-B14F-4D97-AF65-F5344CB8AC3E}">
        <p14:creationId xmlns:p14="http://schemas.microsoft.com/office/powerpoint/2010/main" val="366162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929314" y="8841686"/>
            <a:ext cx="928691" cy="454716"/>
          </a:xfrm>
        </p:spPr>
        <p:txBody>
          <a:bodyPr/>
          <a:lstStyle/>
          <a:p>
            <a:pPr>
              <a:defRPr/>
            </a:pPr>
            <a:fld id="{0A2EA4F6-61E5-4A91-98AE-2056DF8CE19B}" type="slidenum">
              <a:rPr lang="en-US" smtClean="0"/>
              <a:pPr>
                <a:defRPr/>
              </a:pPr>
              <a:t>21</a:t>
            </a:fld>
            <a:endParaRPr lang="en-US" dirty="0"/>
          </a:p>
        </p:txBody>
      </p:sp>
    </p:spTree>
    <p:extLst>
      <p:ext uri="{BB962C8B-B14F-4D97-AF65-F5344CB8AC3E}">
        <p14:creationId xmlns:p14="http://schemas.microsoft.com/office/powerpoint/2010/main" val="4090287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22</a:t>
            </a:fld>
            <a:endParaRPr lang="en-US" dirty="0"/>
          </a:p>
        </p:txBody>
      </p:sp>
    </p:spTree>
    <p:extLst>
      <p:ext uri="{BB962C8B-B14F-4D97-AF65-F5344CB8AC3E}">
        <p14:creationId xmlns:p14="http://schemas.microsoft.com/office/powerpoint/2010/main" val="2152498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sz="1200" i="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3650727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3</a:t>
            </a:fld>
            <a:endParaRPr lang="en-US" dirty="0"/>
          </a:p>
        </p:txBody>
      </p:sp>
    </p:spTree>
    <p:extLst>
      <p:ext uri="{BB962C8B-B14F-4D97-AF65-F5344CB8AC3E}">
        <p14:creationId xmlns:p14="http://schemas.microsoft.com/office/powerpoint/2010/main" val="2298608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DB3C6-93D1-4577-9C52-D1CF3BE2D855}" type="slidenum">
              <a:rPr lang="en-US" smtClean="0"/>
              <a:t>4</a:t>
            </a:fld>
            <a:endParaRPr lang="en-US" dirty="0"/>
          </a:p>
        </p:txBody>
      </p:sp>
    </p:spTree>
    <p:extLst>
      <p:ext uri="{BB962C8B-B14F-4D97-AF65-F5344CB8AC3E}">
        <p14:creationId xmlns:p14="http://schemas.microsoft.com/office/powerpoint/2010/main" val="2730886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5</a:t>
            </a:fld>
            <a:endParaRPr lang="en-US" dirty="0"/>
          </a:p>
        </p:txBody>
      </p:sp>
    </p:spTree>
    <p:extLst>
      <p:ext uri="{BB962C8B-B14F-4D97-AF65-F5344CB8AC3E}">
        <p14:creationId xmlns:p14="http://schemas.microsoft.com/office/powerpoint/2010/main" val="3567164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6</a:t>
            </a:fld>
            <a:endParaRPr lang="en-US" dirty="0"/>
          </a:p>
        </p:txBody>
      </p:sp>
    </p:spTree>
    <p:extLst>
      <p:ext uri="{BB962C8B-B14F-4D97-AF65-F5344CB8AC3E}">
        <p14:creationId xmlns:p14="http://schemas.microsoft.com/office/powerpoint/2010/main" val="1421307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ct val="90000"/>
              </a:lnSpc>
              <a:spcBef>
                <a:spcPts val="0"/>
              </a:spcBef>
              <a:spcAft>
                <a:spcPts val="0"/>
              </a:spcAft>
              <a:buClrTx/>
              <a:buSzTx/>
              <a:buFont typeface="+mj-lt"/>
              <a:buNone/>
              <a:tabLst/>
              <a:defRPr/>
            </a:pPr>
            <a:endParaRPr lang="en-US" sz="1200" baseline="0" dirty="0" smtClean="0">
              <a:cs typeface="Arial" charset="0"/>
            </a:endParaRPr>
          </a:p>
        </p:txBody>
      </p:sp>
      <p:sp>
        <p:nvSpPr>
          <p:cNvPr id="4" name="Slide Number Placeholder 3"/>
          <p:cNvSpPr>
            <a:spLocks noGrp="1"/>
          </p:cNvSpPr>
          <p:nvPr>
            <p:ph type="sldNum" sz="quarter" idx="10"/>
          </p:nvPr>
        </p:nvSpPr>
        <p:spPr/>
        <p:txBody>
          <a:bodyPr/>
          <a:lstStyle/>
          <a:p>
            <a:pPr>
              <a:defRPr/>
            </a:pPr>
            <a:fld id="{DBB15372-5EB0-4BEC-B29D-70FFC27E7E08}"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498780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en-US" sz="1200" kern="1200" dirty="0" smtClean="0">
              <a:solidFill>
                <a:schemeClr val="tx1"/>
              </a:solidFill>
              <a:effectLst/>
              <a:latin typeface="Times New Roman" pitchFamily="18" charset="0"/>
              <a:ea typeface="+mn-ea"/>
              <a:cs typeface="+mn-cs"/>
            </a:endParaRPr>
          </a:p>
          <a:p>
            <a:pPr>
              <a:spcBef>
                <a:spcPts val="0"/>
              </a:spcBef>
            </a:pPr>
            <a:endParaRPr lang="en-US" sz="120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470411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sz="120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1023465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5.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7.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8.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6.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7.xml"/><Relationship Id="rId1" Type="http://schemas.openxmlformats.org/officeDocument/2006/relationships/tags" Target="../tags/tag68.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0.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1.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7.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9.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0.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1.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6.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88.xml"/></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9.xml"/></Relationships>
</file>

<file path=ppt/slideLayouts/_rels/slideLayout3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0.xml"/></Relationships>
</file>

<file path=ppt/slideLayouts/_rels/slideLayout32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5.xml"/></Relationships>
</file>

<file path=ppt/slideLayouts/_rels/slideLayout3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1.xml"/><Relationship Id="rId1" Type="http://schemas.openxmlformats.org/officeDocument/2006/relationships/tags" Target="../tags/tag9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2.xml"/></Relationships>
</file>

<file path=ppt/slideLayouts/_rels/slideLayout3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8.xml"/></Relationships>
</file>

<file path=ppt/slideLayouts/_rels/slideLayout40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0.xml"/></Relationships>
</file>

<file path=ppt/slideLayouts/_rels/slideLayout43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1.xml"/></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6.xml"/></Relationships>
</file>

<file path=ppt/slideLayouts/_rels/slideLayout43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8.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4.xml"/></Relationships>
</file>

<file path=ppt/slideLayouts/_rels/slideLayout48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6.xml"/></Relationships>
</file>

<file path=ppt/slideLayouts/_rels/slideLayout51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7.xml"/></Relationships>
</file>

<file path=ppt/slideLayouts/_rels/slideLayout51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838756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96701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9399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2434435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5975694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128119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341037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2164704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16943253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3520210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325357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32773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69219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911261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5587020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400367"/>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9384303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1291872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029176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28600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8047236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03752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682962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3184185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8768780"/>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77321051"/>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074010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3511518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6252685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1254304"/>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019369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952217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44676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62745482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713239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667269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4540934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5310442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758472199"/>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8574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2459233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1395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28208658"/>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15825549"/>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90206985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3684064"/>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4313732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358857159"/>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02774364"/>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7534282"/>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53712342"/>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947371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5382020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6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6612935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03162813"/>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975263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713388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50192223"/>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36209537"/>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6587517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77893736"/>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3578694"/>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67701112"/>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4791635"/>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1104556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58808602"/>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18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680383"/>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297161"/>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85876753"/>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82183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0982494"/>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0565072"/>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4286534"/>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6946788"/>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2285316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8943713"/>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905709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988318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57647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8186021"/>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7858145"/>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6642644"/>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485687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643824"/>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43895695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48550099"/>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606453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38558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52039909"/>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173841"/>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8184045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19236308"/>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887464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54879915"/>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028734349"/>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69182062"/>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89295010"/>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931126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94537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05898605"/>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53109"/>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6829285"/>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3057265"/>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36281875"/>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2523405"/>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240318"/>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26491651"/>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0456090"/>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488861"/>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39851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206257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92766320"/>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320022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5708253"/>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51670994"/>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201147"/>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4883010"/>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808892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9255838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135262"/>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114692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60126816"/>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0127314"/>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8239516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478098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17776209"/>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53039699"/>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5418970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88744599"/>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7343113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3741349"/>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5465250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13435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02146169"/>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51825991"/>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4822654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9774942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98944959"/>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23679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3204446"/>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3916479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71827257"/>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57468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42485"/>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486941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351372"/>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0206017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54513187"/>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7218216"/>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6012319"/>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74724756"/>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61103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58479245"/>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05194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4119748441"/>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5652328"/>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1713511"/>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941740"/>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7093217"/>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2563078"/>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645451"/>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09065345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42216747"/>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50325964"/>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033087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8259793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886873044"/>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706728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1268276"/>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3857021"/>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1006886174"/>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52604496"/>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247744468"/>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87087707"/>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223494967"/>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8520910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771924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94089594"/>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090526124"/>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8426781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6340520"/>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83313681"/>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60030673"/>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0563170"/>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37911520"/>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1077825"/>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66996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14169568"/>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4640132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423745"/>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1339231"/>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4597621"/>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4320307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90356510"/>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67877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451114"/>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6774937"/>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49516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35250688"/>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38918083"/>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5180632"/>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873843"/>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81907152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61151487"/>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4609735"/>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48689294"/>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9273581"/>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20417968"/>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6377528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9893213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75366982"/>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0232757"/>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38866215"/>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88021128"/>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88040963"/>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45535079"/>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823132"/>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2691149"/>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6893441"/>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3351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9069753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6560211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3944744"/>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87750359"/>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45781"/>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16458023"/>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222274"/>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11333921"/>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034520"/>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042605"/>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70044599"/>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7628093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84221875"/>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1250549"/>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228849"/>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14290437"/>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510574"/>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0987464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571139"/>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410409"/>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4584733"/>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20449042"/>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2374176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cs typeface="+mn-cs"/>
            </a:endParaRPr>
          </a:p>
        </p:txBody>
      </p:sp>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hangingPunct="0">
              <a:lnSpc>
                <a:spcPct val="110000"/>
              </a:lnSpc>
              <a:defRPr/>
            </a:pPr>
            <a:r>
              <a:rPr lang="en-GB" sz="1200" dirty="0">
                <a:solidFill>
                  <a:srgbClr val="000000"/>
                </a:solidFill>
                <a:cs typeface="+mn-cs"/>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3188832425"/>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46926013"/>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5883005"/>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80549488"/>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19829015"/>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94012978"/>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268435772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4722903"/>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97449772"/>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510752427"/>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1933090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84870378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10397374"/>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8885995"/>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322901"/>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4662302"/>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617257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3542612"/>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92552"/>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50238480"/>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572111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31464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2013540354"/>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30937658"/>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86556502"/>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5882054"/>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0476000"/>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0389340"/>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0064542"/>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1853055"/>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903621"/>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4660492"/>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214404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EL_COL"/>
          <p:cNvPicPr>
            <a:picLocks noChangeAspect="1" noChangeArrowheads="1"/>
          </p:cNvPicPr>
          <p:nvPr userDrawn="1">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851685"/>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659615"/>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118764847"/>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65613170"/>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72711927"/>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8614300"/>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5146832"/>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91540796"/>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3574081"/>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6235667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4713" y="865564"/>
            <a:ext cx="7772400" cy="562786"/>
          </a:xfrm>
        </p:spPr>
        <p:txBody>
          <a:bodyPr>
            <a:noAutofit/>
          </a:bodyPr>
          <a:lstStyle>
            <a:lvl1pPr algn="l">
              <a:defRPr sz="2400" b="0" i="0">
                <a:solidFill>
                  <a:schemeClr val="bg1"/>
                </a:solidFill>
                <a:latin typeface="Century Gothic"/>
                <a:cs typeface="Century Gothic"/>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44713" y="1539569"/>
            <a:ext cx="8631441" cy="4480231"/>
          </a:xfr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dy text</a:t>
            </a:r>
            <a:endParaRPr lang="en-US" dirty="0"/>
          </a:p>
        </p:txBody>
      </p:sp>
    </p:spTree>
    <p:extLst>
      <p:ext uri="{BB962C8B-B14F-4D97-AF65-F5344CB8AC3E}">
        <p14:creationId xmlns:p14="http://schemas.microsoft.com/office/powerpoint/2010/main" val="22598017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cs typeface="+mn-cs"/>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009768030"/>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38489241"/>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prstClr val="white"/>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prstClr val="black"/>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prstClr val="black"/>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3565359144"/>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7866367"/>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7955292"/>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550717"/>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9571312"/>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274276"/>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656795"/>
            <a:ext cx="5486400" cy="30707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55327084"/>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09559648"/>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5704"/>
            <a:ext cx="2057400" cy="452045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5704"/>
            <a:ext cx="6019800" cy="452045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1066800" y="6372446"/>
            <a:ext cx="1752600" cy="369332"/>
          </a:xfrm>
          <a:prstGeom prst="rect">
            <a:avLst/>
          </a:prstGeom>
          <a:noFill/>
        </p:spPr>
        <p:txBody>
          <a:bodyPr wrap="square" rtlCol="0">
            <a:spAutoFit/>
          </a:bodyPr>
          <a:lstStyle/>
          <a:p>
            <a:pPr fontAlgn="auto">
              <a:spcBef>
                <a:spcPts val="0"/>
              </a:spcBef>
              <a:spcAft>
                <a:spcPts val="0"/>
              </a:spcAft>
            </a:pPr>
            <a:endParaRPr lang="en-US" sz="1800" dirty="0">
              <a:solidFill>
                <a:prstClr val="black"/>
              </a:solidFill>
              <a:latin typeface="Century Gothic"/>
            </a:endParaRPr>
          </a:p>
        </p:txBody>
      </p:sp>
    </p:spTree>
    <p:extLst>
      <p:ext uri="{BB962C8B-B14F-4D97-AF65-F5344CB8AC3E}">
        <p14:creationId xmlns:p14="http://schemas.microsoft.com/office/powerpoint/2010/main" val="88764414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300989050"/>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400050" y="-3707"/>
            <a:ext cx="8343900" cy="77724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00050" y="1216025"/>
            <a:ext cx="8343900" cy="5073650"/>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264924"/>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61165574"/>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02110724"/>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57748346"/>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5769087"/>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398705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367203"/>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157046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42462921"/>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67887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862512316"/>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0011211"/>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6205233"/>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8944530"/>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14887658"/>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577821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1124456"/>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563545"/>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49436599"/>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7654964"/>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716551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19169922"/>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0185069"/>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696046"/>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28112951"/>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282196"/>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04748562"/>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58803781"/>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8391897"/>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7337053"/>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3591600"/>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356114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32117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4788115"/>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4249459"/>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73221078"/>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0176916"/>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22310276"/>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6491820"/>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15455855"/>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9590406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335104"/>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667225"/>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603425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4414519"/>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22266251"/>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180295"/>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06776957"/>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5868087"/>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2152615"/>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5249235"/>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7858062"/>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63826558"/>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2424669"/>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1118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82219941"/>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8288238"/>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2963059"/>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42664389"/>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3317225"/>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58636"/>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84139870"/>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99211106"/>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5053728"/>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6040591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861868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50618172"/>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80629340"/>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59812636"/>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0629351"/>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93661878"/>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2549392"/>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677610458"/>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692266525"/>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58891387"/>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12927474"/>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311769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1476001"/>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140782"/>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8670892"/>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56951470"/>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8170683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487688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85997927"/>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7755239"/>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9133339"/>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9854569"/>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98660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20632187"/>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3364431"/>
      </p:ext>
    </p:extLst>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94472501"/>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775218"/>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6650673"/>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88261210"/>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8191746"/>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96463779"/>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5400924"/>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211821725"/>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678070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7088365"/>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8871953"/>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02636769"/>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24356905"/>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66930126"/>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4033982"/>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88288918"/>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55565228"/>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146050" y="6395664"/>
            <a:ext cx="8851900" cy="454025"/>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US" dirty="0" smtClean="0"/>
              <a:t>This briefing is classified [OVERALL CLASSIFICATION]</a:t>
            </a:r>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037308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17578042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77496860"/>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360462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364104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626497015"/>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17548904"/>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0AB19602-34CB-4804-99F1-B3F543DE0E2F}" type="datetimeFigureOut">
              <a:rPr lang="en-US" sz="2400" smtClean="0">
                <a:solidFill>
                  <a:prstClr val="black">
                    <a:tint val="75000"/>
                  </a:prstClr>
                </a:solidFill>
                <a:ea typeface="ＭＳ Ｐゴシック" pitchFamily="34" charset="-128"/>
              </a:rPr>
              <a:pPr/>
              <a:t>11/17/2016</a:t>
            </a:fld>
            <a:endParaRPr lang="en-US" sz="2400" dirty="0">
              <a:solidFill>
                <a:prstClr val="black">
                  <a:tint val="75000"/>
                </a:prstClr>
              </a:solidFill>
              <a:ea typeface="ＭＳ Ｐゴシック" pitchFamily="34" charset="-128"/>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sz="2400" dirty="0">
              <a:solidFill>
                <a:prstClr val="black">
                  <a:tint val="75000"/>
                </a:prstClr>
              </a:solidFill>
              <a:ea typeface="ＭＳ Ｐゴシック" pitchFamily="34" charset="-128"/>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554637AC-DF02-4FE1-849A-EF3308F8B655}"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3437011519"/>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205780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635221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1056301236"/>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703751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62171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4189362"/>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9675921"/>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90303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8600992"/>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3871412"/>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98168412"/>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00369978"/>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6758047"/>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6908322"/>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36826826"/>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4266892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8857880"/>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9119014"/>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22687662"/>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75251284"/>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832242"/>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5211534"/>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7020779"/>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92228"/>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84146326"/>
      </p:ext>
    </p:extLst>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51628425"/>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16591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979735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0417012"/>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60084026"/>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3457594"/>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26879396"/>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35293577"/>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4303741"/>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5716042"/>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566113"/>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18507868"/>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76061023"/>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8201091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12292793"/>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37493258"/>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474769592"/>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93628502"/>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2545292"/>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95821166"/>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34451479"/>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429998252"/>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05741146"/>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414437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93251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0386618"/>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4280123065"/>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1706899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622893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3660538"/>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431863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2841500"/>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215198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653959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787722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529560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7448761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7636623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479366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1756223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22857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83164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16350860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1426704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56110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7308130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6623765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864341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7279766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6531500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endParaRP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27744572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3732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285211329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404998729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57832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3966767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57569363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208155259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423258414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991685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719745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8301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1982112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71303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357565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57917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236313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005989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227794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09730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789244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523363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1844024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748409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473490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736567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0205875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6698941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530033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67524883"/>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639100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2251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58457001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1029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9" Type="http://schemas.openxmlformats.org/officeDocument/2006/relationships/oleObject" Target="../embeddings/oleObject10.bin"/><Relationship Id="rId3" Type="http://schemas.openxmlformats.org/officeDocument/2006/relationships/slideLayout" Target="../slideLayouts/slideLayout330.xml"/><Relationship Id="rId21" Type="http://schemas.openxmlformats.org/officeDocument/2006/relationships/slideLayout" Target="../slideLayouts/slideLayout348.xml"/><Relationship Id="rId34" Type="http://schemas.openxmlformats.org/officeDocument/2006/relationships/tags" Target="../tags/tag91.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vmlDrawing" Target="../drawings/vmlDrawing10.vml"/><Relationship Id="rId38" Type="http://schemas.openxmlformats.org/officeDocument/2006/relationships/image" Target="../media/image2.jpg"/><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0.xml"/><Relationship Id="rId37" Type="http://schemas.openxmlformats.org/officeDocument/2006/relationships/tags" Target="../tags/tag94.xml"/><Relationship Id="rId40" Type="http://schemas.openxmlformats.org/officeDocument/2006/relationships/image" Target="../media/image1.emf"/><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tags" Target="../tags/tag93.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tags" Target="../tags/tag9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theme" Target="../theme/theme11.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9" Type="http://schemas.openxmlformats.org/officeDocument/2006/relationships/oleObject" Target="../embeddings/oleObject11.bin"/><Relationship Id="rId3" Type="http://schemas.openxmlformats.org/officeDocument/2006/relationships/slideLayout" Target="../slideLayouts/slideLayout373.xml"/><Relationship Id="rId21" Type="http://schemas.openxmlformats.org/officeDocument/2006/relationships/slideLayout" Target="../slideLayouts/slideLayout391.xml"/><Relationship Id="rId34" Type="http://schemas.openxmlformats.org/officeDocument/2006/relationships/tags" Target="../tags/tag98.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33" Type="http://schemas.openxmlformats.org/officeDocument/2006/relationships/vmlDrawing" Target="../drawings/vmlDrawing11.vml"/><Relationship Id="rId38" Type="http://schemas.openxmlformats.org/officeDocument/2006/relationships/image" Target="../media/image2.jpg"/><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29" Type="http://schemas.openxmlformats.org/officeDocument/2006/relationships/slideLayout" Target="../slideLayouts/slideLayout39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32" Type="http://schemas.openxmlformats.org/officeDocument/2006/relationships/theme" Target="../theme/theme12.xml"/><Relationship Id="rId37" Type="http://schemas.openxmlformats.org/officeDocument/2006/relationships/tags" Target="../tags/tag101.xml"/><Relationship Id="rId40" Type="http://schemas.openxmlformats.org/officeDocument/2006/relationships/image" Target="../media/image1.emf"/><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slideLayout" Target="../slideLayouts/slideLayout398.xml"/><Relationship Id="rId36" Type="http://schemas.openxmlformats.org/officeDocument/2006/relationships/tags" Target="../tags/tag100.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31" Type="http://schemas.openxmlformats.org/officeDocument/2006/relationships/slideLayout" Target="../slideLayouts/slideLayout401.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 Id="rId30" Type="http://schemas.openxmlformats.org/officeDocument/2006/relationships/slideLayout" Target="../slideLayouts/slideLayout400.xml"/><Relationship Id="rId35" Type="http://schemas.openxmlformats.org/officeDocument/2006/relationships/tags" Target="../tags/tag9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tags" Target="../tags/tag107.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34" Type="http://schemas.openxmlformats.org/officeDocument/2006/relationships/theme" Target="../theme/theme13.xml"/><Relationship Id="rId42" Type="http://schemas.openxmlformats.org/officeDocument/2006/relationships/image" Target="../media/image1.emf"/><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tags" Target="../tags/tag106.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slideLayout" Target="../slideLayouts/slideLayout430.xml"/><Relationship Id="rId41" Type="http://schemas.openxmlformats.org/officeDocument/2006/relationships/oleObject" Target="../embeddings/oleObject12.bin"/><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tags" Target="../tags/tag105.xml"/><Relationship Id="rId40" Type="http://schemas.openxmlformats.org/officeDocument/2006/relationships/image" Target="../media/image2.jpg"/><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tags" Target="../tags/tag104.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31" Type="http://schemas.openxmlformats.org/officeDocument/2006/relationships/slideLayout" Target="../slideLayouts/slideLayout432.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vmlDrawing" Target="../drawings/vmlDrawing12.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slideLayout" Target="../slideLayouts/slideLayout447.xml"/><Relationship Id="rId18" Type="http://schemas.openxmlformats.org/officeDocument/2006/relationships/slideLayout" Target="../slideLayouts/slideLayout452.xml"/><Relationship Id="rId26" Type="http://schemas.openxmlformats.org/officeDocument/2006/relationships/slideLayout" Target="../slideLayouts/slideLayout460.xml"/><Relationship Id="rId39" Type="http://schemas.openxmlformats.org/officeDocument/2006/relationships/tags" Target="../tags/tag115.xml"/><Relationship Id="rId3" Type="http://schemas.openxmlformats.org/officeDocument/2006/relationships/slideLayout" Target="../slideLayouts/slideLayout437.xml"/><Relationship Id="rId21" Type="http://schemas.openxmlformats.org/officeDocument/2006/relationships/slideLayout" Target="../slideLayouts/slideLayout455.xml"/><Relationship Id="rId34" Type="http://schemas.openxmlformats.org/officeDocument/2006/relationships/theme" Target="../theme/theme14.xml"/><Relationship Id="rId42" Type="http://schemas.openxmlformats.org/officeDocument/2006/relationships/image" Target="../media/image1.emf"/><Relationship Id="rId7" Type="http://schemas.openxmlformats.org/officeDocument/2006/relationships/slideLayout" Target="../slideLayouts/slideLayout441.xml"/><Relationship Id="rId12" Type="http://schemas.openxmlformats.org/officeDocument/2006/relationships/slideLayout" Target="../slideLayouts/slideLayout446.xml"/><Relationship Id="rId17" Type="http://schemas.openxmlformats.org/officeDocument/2006/relationships/slideLayout" Target="../slideLayouts/slideLayout451.xml"/><Relationship Id="rId25" Type="http://schemas.openxmlformats.org/officeDocument/2006/relationships/slideLayout" Target="../slideLayouts/slideLayout459.xml"/><Relationship Id="rId33" Type="http://schemas.openxmlformats.org/officeDocument/2006/relationships/slideLayout" Target="../slideLayouts/slideLayout467.xml"/><Relationship Id="rId38" Type="http://schemas.openxmlformats.org/officeDocument/2006/relationships/tags" Target="../tags/tag114.xml"/><Relationship Id="rId2" Type="http://schemas.openxmlformats.org/officeDocument/2006/relationships/slideLayout" Target="../slideLayouts/slideLayout436.xml"/><Relationship Id="rId16" Type="http://schemas.openxmlformats.org/officeDocument/2006/relationships/slideLayout" Target="../slideLayouts/slideLayout450.xml"/><Relationship Id="rId20" Type="http://schemas.openxmlformats.org/officeDocument/2006/relationships/slideLayout" Target="../slideLayouts/slideLayout454.xml"/><Relationship Id="rId29" Type="http://schemas.openxmlformats.org/officeDocument/2006/relationships/slideLayout" Target="../slideLayouts/slideLayout463.xml"/><Relationship Id="rId41" Type="http://schemas.openxmlformats.org/officeDocument/2006/relationships/oleObject" Target="../embeddings/oleObject13.bin"/><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slideLayout" Target="../slideLayouts/slideLayout445.xml"/><Relationship Id="rId24" Type="http://schemas.openxmlformats.org/officeDocument/2006/relationships/slideLayout" Target="../slideLayouts/slideLayout458.xml"/><Relationship Id="rId32" Type="http://schemas.openxmlformats.org/officeDocument/2006/relationships/slideLayout" Target="../slideLayouts/slideLayout466.xml"/><Relationship Id="rId37" Type="http://schemas.openxmlformats.org/officeDocument/2006/relationships/tags" Target="../tags/tag113.xml"/><Relationship Id="rId40" Type="http://schemas.openxmlformats.org/officeDocument/2006/relationships/image" Target="../media/image2.jpg"/><Relationship Id="rId5" Type="http://schemas.openxmlformats.org/officeDocument/2006/relationships/slideLayout" Target="../slideLayouts/slideLayout439.xml"/><Relationship Id="rId15" Type="http://schemas.openxmlformats.org/officeDocument/2006/relationships/slideLayout" Target="../slideLayouts/slideLayout449.xml"/><Relationship Id="rId23" Type="http://schemas.openxmlformats.org/officeDocument/2006/relationships/slideLayout" Target="../slideLayouts/slideLayout457.xml"/><Relationship Id="rId28" Type="http://schemas.openxmlformats.org/officeDocument/2006/relationships/slideLayout" Target="../slideLayouts/slideLayout462.xml"/><Relationship Id="rId36" Type="http://schemas.openxmlformats.org/officeDocument/2006/relationships/tags" Target="../tags/tag112.xml"/><Relationship Id="rId10" Type="http://schemas.openxmlformats.org/officeDocument/2006/relationships/slideLayout" Target="../slideLayouts/slideLayout444.xml"/><Relationship Id="rId19" Type="http://schemas.openxmlformats.org/officeDocument/2006/relationships/slideLayout" Target="../slideLayouts/slideLayout453.xml"/><Relationship Id="rId31" Type="http://schemas.openxmlformats.org/officeDocument/2006/relationships/slideLayout" Target="../slideLayouts/slideLayout465.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slideLayout" Target="../slideLayouts/slideLayout448.xml"/><Relationship Id="rId22" Type="http://schemas.openxmlformats.org/officeDocument/2006/relationships/slideLayout" Target="../slideLayouts/slideLayout456.xml"/><Relationship Id="rId27" Type="http://schemas.openxmlformats.org/officeDocument/2006/relationships/slideLayout" Target="../slideLayouts/slideLayout461.xml"/><Relationship Id="rId30" Type="http://schemas.openxmlformats.org/officeDocument/2006/relationships/slideLayout" Target="../slideLayouts/slideLayout464.xml"/><Relationship Id="rId35" Type="http://schemas.openxmlformats.org/officeDocument/2006/relationships/vmlDrawing" Target="../drawings/vmlDrawing13.v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470.xml"/><Relationship Id="rId7" Type="http://schemas.openxmlformats.org/officeDocument/2006/relationships/slideLayout" Target="../slideLayouts/slideLayout474.xml"/><Relationship Id="rId2" Type="http://schemas.openxmlformats.org/officeDocument/2006/relationships/slideLayout" Target="../slideLayouts/slideLayout469.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5" Type="http://schemas.openxmlformats.org/officeDocument/2006/relationships/slideLayout" Target="../slideLayouts/slideLayout472.xml"/><Relationship Id="rId4" Type="http://schemas.openxmlformats.org/officeDocument/2006/relationships/slideLayout" Target="../slideLayouts/slideLayout471.xml"/><Relationship Id="rId9" Type="http://schemas.openxmlformats.org/officeDocument/2006/relationships/image" Target="../media/image7.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image" Target="../media/image8.jpeg"/><Relationship Id="rId5" Type="http://schemas.openxmlformats.org/officeDocument/2006/relationships/slideLayout" Target="../slideLayouts/slideLayout479.xml"/><Relationship Id="rId10" Type="http://schemas.openxmlformats.org/officeDocument/2006/relationships/theme" Target="../theme/theme16.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26" Type="http://schemas.openxmlformats.org/officeDocument/2006/relationships/slideLayout" Target="../slideLayouts/slideLayout509.xml"/><Relationship Id="rId39" Type="http://schemas.openxmlformats.org/officeDocument/2006/relationships/tags" Target="../tags/tag122.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34" Type="http://schemas.openxmlformats.org/officeDocument/2006/relationships/slideLayout" Target="../slideLayouts/slideLayout517.xml"/><Relationship Id="rId42" Type="http://schemas.openxmlformats.org/officeDocument/2006/relationships/oleObject" Target="../embeddings/oleObject14.bin"/><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5" Type="http://schemas.openxmlformats.org/officeDocument/2006/relationships/slideLayout" Target="../slideLayouts/slideLayout508.xml"/><Relationship Id="rId33" Type="http://schemas.openxmlformats.org/officeDocument/2006/relationships/slideLayout" Target="../slideLayouts/slideLayout516.xml"/><Relationship Id="rId38" Type="http://schemas.openxmlformats.org/officeDocument/2006/relationships/tags" Target="../tags/tag121.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29" Type="http://schemas.openxmlformats.org/officeDocument/2006/relationships/slideLayout" Target="../slideLayouts/slideLayout512.xml"/><Relationship Id="rId41" Type="http://schemas.openxmlformats.org/officeDocument/2006/relationships/image" Target="../media/image2.jpg"/><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slideLayout" Target="../slideLayouts/slideLayout507.xml"/><Relationship Id="rId32" Type="http://schemas.openxmlformats.org/officeDocument/2006/relationships/slideLayout" Target="../slideLayouts/slideLayout515.xml"/><Relationship Id="rId37" Type="http://schemas.openxmlformats.org/officeDocument/2006/relationships/tags" Target="../tags/tag120.xml"/><Relationship Id="rId40" Type="http://schemas.openxmlformats.org/officeDocument/2006/relationships/tags" Target="../tags/tag123.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28" Type="http://schemas.openxmlformats.org/officeDocument/2006/relationships/slideLayout" Target="../slideLayouts/slideLayout511.xml"/><Relationship Id="rId36" Type="http://schemas.openxmlformats.org/officeDocument/2006/relationships/vmlDrawing" Target="../drawings/vmlDrawing14.v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31" Type="http://schemas.openxmlformats.org/officeDocument/2006/relationships/slideLayout" Target="../slideLayouts/slideLayout514.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 Id="rId27" Type="http://schemas.openxmlformats.org/officeDocument/2006/relationships/slideLayout" Target="../slideLayouts/slideLayout510.xml"/><Relationship Id="rId30" Type="http://schemas.openxmlformats.org/officeDocument/2006/relationships/slideLayout" Target="../slideLayouts/slideLayout513.xml"/><Relationship Id="rId35" Type="http://schemas.openxmlformats.org/officeDocument/2006/relationships/theme" Target="../theme/theme17.xml"/><Relationship Id="rId43"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25.xml"/><Relationship Id="rId3" Type="http://schemas.openxmlformats.org/officeDocument/2006/relationships/slideLayout" Target="../slideLayouts/slideLayout520.xml"/><Relationship Id="rId7" Type="http://schemas.openxmlformats.org/officeDocument/2006/relationships/slideLayout" Target="../slideLayouts/slideLayout524.xml"/><Relationship Id="rId2" Type="http://schemas.openxmlformats.org/officeDocument/2006/relationships/slideLayout" Target="../slideLayouts/slideLayout519.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image" Target="../media/image8.jpeg"/><Relationship Id="rId5" Type="http://schemas.openxmlformats.org/officeDocument/2006/relationships/slideLayout" Target="../slideLayouts/slideLayout522.xml"/><Relationship Id="rId10" Type="http://schemas.openxmlformats.org/officeDocument/2006/relationships/theme" Target="../theme/theme18.xml"/><Relationship Id="rId4" Type="http://schemas.openxmlformats.org/officeDocument/2006/relationships/slideLayout" Target="../slideLayouts/slideLayout521.xml"/><Relationship Id="rId9" Type="http://schemas.openxmlformats.org/officeDocument/2006/relationships/slideLayout" Target="../slideLayouts/slideLayout5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vmlDrawing" Target="../drawings/vmlDrawing2.v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tags" Target="../tags/tag10.xml"/><Relationship Id="rId47"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theme" Target="../theme/theme2.xml"/><Relationship Id="rId46"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tags" Target="../tags/tag9.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tags" Target="../tags/tag8.xml"/><Relationship Id="rId45" Type="http://schemas.openxmlformats.org/officeDocument/2006/relationships/tags" Target="../tags/tag1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tags" Target="../tags/tag1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tags" Target="../tags/tag11.xml"/><Relationship Id="rId48"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vmlDrawing" Target="../drawings/vmlDrawing3.v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tags" Target="../tags/tag18.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theme" Target="../theme/theme3.xml"/><Relationship Id="rId46"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tags" Target="../tags/tag1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tags" Target="../tags/tag16.xml"/><Relationship Id="rId45" Type="http://schemas.openxmlformats.org/officeDocument/2006/relationships/oleObject" Target="../embeddings/oleObject3.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image" Target="../media/image2.jp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tags" Target="../tags/tag23.xml"/><Relationship Id="rId55" Type="http://schemas.openxmlformats.org/officeDocument/2006/relationships/oleObject" Target="../embeddings/oleObject4.bin"/><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41" Type="http://schemas.openxmlformats.org/officeDocument/2006/relationships/slideLayout" Target="../slideLayouts/slideLayout146.xml"/><Relationship Id="rId54" Type="http://schemas.openxmlformats.org/officeDocument/2006/relationships/image" Target="../media/image2.jp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3" Type="http://schemas.openxmlformats.org/officeDocument/2006/relationships/tags" Target="../tags/tag2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vmlDrawing" Target="../drawings/vmlDrawing4.v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tags" Target="../tags/tag2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theme" Target="../theme/theme4.xml"/><Relationship Id="rId56" Type="http://schemas.openxmlformats.org/officeDocument/2006/relationships/image" Target="../media/image1.emf"/><Relationship Id="rId8" Type="http://schemas.openxmlformats.org/officeDocument/2006/relationships/slideLayout" Target="../slideLayouts/slideLayout113.xml"/><Relationship Id="rId51" Type="http://schemas.openxmlformats.org/officeDocument/2006/relationships/tags" Target="../tags/tag24.xml"/><Relationship Id="rId3"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tags" Target="../tags/tag46.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theme" Target="../theme/theme5.xml"/><Relationship Id="rId42" Type="http://schemas.openxmlformats.org/officeDocument/2006/relationships/image" Target="../media/image1.emf"/><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tags" Target="../tags/tag45.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oleObject" Target="../embeddings/oleObject5.bin"/><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tags" Target="../tags/tag44.xml"/><Relationship Id="rId40" Type="http://schemas.openxmlformats.org/officeDocument/2006/relationships/image" Target="../media/image2.jp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tags" Target="../tags/tag43.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vmlDrawing" Target="../drawings/vmlDrawing6.v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tags" Target="../tags/tag53.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theme" Target="../theme/theme6.xml"/><Relationship Id="rId46" Type="http://schemas.openxmlformats.org/officeDocument/2006/relationships/image" Target="../media/image1.emf"/><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tags" Target="../tags/tag52.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tags" Target="../tags/tag51.xml"/><Relationship Id="rId45" Type="http://schemas.openxmlformats.org/officeDocument/2006/relationships/oleObject" Target="../embeddings/oleObject6.bin"/><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image" Target="../media/image2.jpg"/><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tags" Target="../tags/tag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vmlDrawing" Target="../drawings/vmlDrawing7.v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tags" Target="../tags/tag64.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7.xml"/><Relationship Id="rId46" Type="http://schemas.openxmlformats.org/officeDocument/2006/relationships/image" Target="../media/image1.emf"/><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41" Type="http://schemas.openxmlformats.org/officeDocument/2006/relationships/tags" Target="../tags/tag63.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tags" Target="../tags/tag62.xml"/><Relationship Id="rId45" Type="http://schemas.openxmlformats.org/officeDocument/2006/relationships/oleObject" Target="../embeddings/oleObject7.bin"/><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image" Target="../media/image2.jp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tags" Target="../tags/tag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9" Type="http://schemas.openxmlformats.org/officeDocument/2006/relationships/tags" Target="../tags/tag75.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slideLayout" Target="../slideLayouts/slideLayout293.xml"/><Relationship Id="rId42" Type="http://schemas.openxmlformats.org/officeDocument/2006/relationships/oleObject" Target="../embeddings/oleObject8.bin"/><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38" Type="http://schemas.openxmlformats.org/officeDocument/2006/relationships/tags" Target="../tags/tag74.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41" Type="http://schemas.openxmlformats.org/officeDocument/2006/relationships/image" Target="../media/image2.jpg"/><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37" Type="http://schemas.openxmlformats.org/officeDocument/2006/relationships/tags" Target="../tags/tag73.xml"/><Relationship Id="rId40" Type="http://schemas.openxmlformats.org/officeDocument/2006/relationships/tags" Target="../tags/tag76.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36" Type="http://schemas.openxmlformats.org/officeDocument/2006/relationships/vmlDrawing" Target="../drawings/vmlDrawing8.v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theme" Target="../theme/theme8.xml"/><Relationship Id="rId43"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tags" Target="../tags/tag84.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oleObject" Target="../embeddings/oleObject9.bin"/><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tags" Target="../tags/tag83.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41" Type="http://schemas.openxmlformats.org/officeDocument/2006/relationships/image" Target="../media/image2.jpg"/><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tags" Target="../tags/tag82.xml"/><Relationship Id="rId40" Type="http://schemas.openxmlformats.org/officeDocument/2006/relationships/tags" Target="../tags/tag85.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vmlDrawing" Target="../drawings/vmlDrawing9.v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theme" Target="../theme/theme9.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ext uri="{D42A27DB-BD31-4B8C-83A1-F6EECF244321}">
                <p14:modId xmlns:p14="http://schemas.microsoft.com/office/powerpoint/2010/main" val="1496417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77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chemeClr val="tx1"/>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chemeClr val="tx1"/>
                </a:buClr>
                <a:buSzPct val="65000"/>
                <a:buFont typeface="Wingdings" pitchFamily="2" charset="2"/>
                <a:buNone/>
                <a:defRPr/>
              </a:pPr>
              <a:t>‹#›</a:t>
            </a:fld>
            <a:r>
              <a:rPr lang="en-US" sz="900" dirty="0">
                <a:solidFill>
                  <a:srgbClr val="000000"/>
                </a:solidFill>
                <a:cs typeface="+mn-cs"/>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 bg1="lt1" tx1="dk1" bg2="lt2" tx2="dk2" accent1="accent1" accent2="accent2" accent3="accent3" accent4="accent4" accent5="accent5" accent6="accent6" hlink="hlink" folHlink="folHlink"/>
  <p:sldLayoutIdLst>
    <p:sldLayoutId id="2147484764" r:id="rId1"/>
    <p:sldLayoutId id="2147484766"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67" r:id="rId24"/>
    <p:sldLayoutId id="2147484752" r:id="rId25"/>
    <p:sldLayoutId id="2147484753" r:id="rId26"/>
    <p:sldLayoutId id="2147484754" r:id="rId27"/>
    <p:sldLayoutId id="2147484755" r:id="rId28"/>
    <p:sldLayoutId id="2147484756" r:id="rId29"/>
    <p:sldLayoutId id="2147484757" r:id="rId30"/>
    <p:sldLayoutId id="2147484758"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4209"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231649090"/>
      </p:ext>
    </p:extLst>
  </p:cSld>
  <p:clrMap bg1="lt1" tx1="dk1" bg2="lt2" tx2="dk2" accent1="accent1" accent2="accent2" accent3="accent3" accent4="accent4" accent5="accent5" accent6="accent6" hlink="hlink" folHlink="folHlink"/>
  <p:sldLayoutIdLst>
    <p:sldLayoutId id="2147485146" r:id="rId1"/>
    <p:sldLayoutId id="2147485147" r:id="rId2"/>
    <p:sldLayoutId id="2147485148" r:id="rId3"/>
    <p:sldLayoutId id="2147485149" r:id="rId4"/>
    <p:sldLayoutId id="2147485150" r:id="rId5"/>
    <p:sldLayoutId id="2147485151" r:id="rId6"/>
    <p:sldLayoutId id="2147485152" r:id="rId7"/>
    <p:sldLayoutId id="2147485153" r:id="rId8"/>
    <p:sldLayoutId id="2147485154" r:id="rId9"/>
    <p:sldLayoutId id="2147485155" r:id="rId10"/>
    <p:sldLayoutId id="2147485156" r:id="rId11"/>
    <p:sldLayoutId id="2147485157" r:id="rId12"/>
    <p:sldLayoutId id="2147485158" r:id="rId13"/>
    <p:sldLayoutId id="2147485159" r:id="rId14"/>
    <p:sldLayoutId id="2147485160" r:id="rId15"/>
    <p:sldLayoutId id="2147485161" r:id="rId16"/>
    <p:sldLayoutId id="2147485162" r:id="rId17"/>
    <p:sldLayoutId id="2147485163" r:id="rId18"/>
    <p:sldLayoutId id="2147485164" r:id="rId19"/>
    <p:sldLayoutId id="2147485165" r:id="rId20"/>
    <p:sldLayoutId id="2147485166" r:id="rId21"/>
    <p:sldLayoutId id="2147485167" r:id="rId22"/>
    <p:sldLayoutId id="2147485168" r:id="rId23"/>
    <p:sldLayoutId id="2147485169" r:id="rId24"/>
    <p:sldLayoutId id="2147485170" r:id="rId25"/>
    <p:sldLayoutId id="2147485171" r:id="rId26"/>
    <p:sldLayoutId id="2147485172" r:id="rId27"/>
    <p:sldLayoutId id="2147485173" r:id="rId28"/>
    <p:sldLayoutId id="2147485174" r:id="rId29"/>
    <p:sldLayoutId id="2147485175" r:id="rId30"/>
    <p:sldLayoutId id="2147485176"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810" y="872658"/>
            <a:ext cx="8551990" cy="54497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810" y="1600200"/>
            <a:ext cx="8897440" cy="4525963"/>
          </a:xfrm>
          <a:prstGeom prst="rect">
            <a:avLst/>
          </a:prstGeom>
        </p:spPr>
        <p:txBody>
          <a:bodyPr vert="horz" lIns="91440" tIns="45720" rIns="91440" bIns="45720" rtlCol="0" anchor="t">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entury Gothic"/>
            </a:endParaRPr>
          </a:p>
        </p:txBody>
      </p:sp>
      <p:sp>
        <p:nvSpPr>
          <p:cNvPr id="5" name="TextBox 4"/>
          <p:cNvSpPr txBox="1"/>
          <p:nvPr userDrawn="1"/>
        </p:nvSpPr>
        <p:spPr>
          <a:xfrm>
            <a:off x="7696200" y="6477000"/>
            <a:ext cx="1447800" cy="276999"/>
          </a:xfrm>
          <a:prstGeom prst="rect">
            <a:avLst/>
          </a:prstGeom>
        </p:spPr>
        <p:txBody>
          <a:bodyPr vert="horz" lIns="91440" tIns="45720" rIns="91440" bIns="45720" rtlCol="0" anchor="ctr"/>
          <a:lstStyle>
            <a:defPPr>
              <a:defRPr lang="en-US"/>
            </a:defPPr>
            <a:lvl1pPr algn="ctr">
              <a:defRPr sz="1200">
                <a:solidFill>
                  <a:prstClr val="black">
                    <a:tint val="75000"/>
                  </a:prstClr>
                </a:solidFill>
              </a:defRPr>
            </a:lvl1pPr>
          </a:lstStyle>
          <a:p>
            <a:pPr algn="r" fontAlgn="auto">
              <a:spcBef>
                <a:spcPts val="0"/>
              </a:spcBef>
              <a:spcAft>
                <a:spcPts val="0"/>
              </a:spcAft>
            </a:pPr>
            <a:fld id="{4C5C63A2-EC34-4EB2-AE28-99DF9B5A18AA}" type="slidenum">
              <a:rPr lang="en-US" smtClean="0">
                <a:latin typeface="Century Gothic"/>
              </a:rPr>
              <a:pPr algn="r" fontAlgn="auto">
                <a:spcBef>
                  <a:spcPts val="0"/>
                </a:spcBef>
                <a:spcAft>
                  <a:spcPts val="0"/>
                </a:spcAft>
              </a:pPr>
              <a:t>‹#›</a:t>
            </a:fld>
            <a:endParaRPr lang="en-US" dirty="0">
              <a:latin typeface="Century Gothic"/>
            </a:endParaRPr>
          </a:p>
        </p:txBody>
      </p:sp>
    </p:spTree>
    <p:extLst>
      <p:ext uri="{BB962C8B-B14F-4D97-AF65-F5344CB8AC3E}">
        <p14:creationId xmlns:p14="http://schemas.microsoft.com/office/powerpoint/2010/main" val="2047314078"/>
      </p:ext>
    </p:extLst>
  </p:cSld>
  <p:clrMap bg1="lt1" tx1="dk1" bg2="lt2" tx2="dk2" accent1="accent1" accent2="accent2" accent3="accent3" accent4="accent4" accent5="accent5" accent6="accent6" hlink="hlink" folHlink="folHlink"/>
  <p:sldLayoutIdLst>
    <p:sldLayoutId id="2147485178" r:id="rId1"/>
    <p:sldLayoutId id="2147485179" r:id="rId2"/>
    <p:sldLayoutId id="2147485180" r:id="rId3"/>
    <p:sldLayoutId id="2147485181" r:id="rId4"/>
    <p:sldLayoutId id="2147485182" r:id="rId5"/>
    <p:sldLayoutId id="2147485183" r:id="rId6"/>
    <p:sldLayoutId id="2147485184" r:id="rId7"/>
    <p:sldLayoutId id="2147485185" r:id="rId8"/>
    <p:sldLayoutId id="2147485186" r:id="rId9"/>
    <p:sldLayoutId id="2147485187" r:id="rId10"/>
    <p:sldLayoutId id="2147485188" r:id="rId11"/>
    <p:sldLayoutId id="2147485189" r:id="rId12"/>
  </p:sldLayoutIdLst>
  <p:timing>
    <p:tnLst>
      <p:par>
        <p:cTn id="1" dur="indefinite" restart="never" nodeType="tmRoot"/>
      </p:par>
    </p:tnLst>
  </p:timing>
  <p:hf hdr="0" ftr="0" dt="0"/>
  <p:txStyles>
    <p:titleStyle>
      <a:lvl1pPr algn="l" defTabSz="457200" rtl="0" eaLnBrk="1" latinLnBrk="0" hangingPunct="1">
        <a:spcBef>
          <a:spcPct val="0"/>
        </a:spcBef>
        <a:buNone/>
        <a:defRPr sz="2400" kern="1200">
          <a:solidFill>
            <a:srgbClr val="FFFFFF"/>
          </a:solidFill>
          <a:latin typeface="Century Gothic"/>
          <a:ea typeface="+mj-ea"/>
          <a:cs typeface="Century Gothic"/>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276"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3265898"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52022769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798"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98617262"/>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 id="2147485239" r:id="rId16"/>
    <p:sldLayoutId id="2147485240" r:id="rId17"/>
    <p:sldLayoutId id="2147485241" r:id="rId18"/>
    <p:sldLayoutId id="2147485242" r:id="rId19"/>
    <p:sldLayoutId id="2147485243" r:id="rId20"/>
    <p:sldLayoutId id="2147485244" r:id="rId21"/>
    <p:sldLayoutId id="2147485245" r:id="rId22"/>
    <p:sldLayoutId id="2147485246" r:id="rId23"/>
    <p:sldLayoutId id="2147485247" r:id="rId24"/>
    <p:sldLayoutId id="2147485248" r:id="rId25"/>
    <p:sldLayoutId id="2147485249" r:id="rId26"/>
    <p:sldLayoutId id="2147485250" r:id="rId27"/>
    <p:sldLayoutId id="2147485251" r:id="rId28"/>
    <p:sldLayoutId id="2147485252" r:id="rId29"/>
    <p:sldLayoutId id="2147485253" r:id="rId30"/>
    <p:sldLayoutId id="2147485254" r:id="rId31"/>
    <p:sldLayoutId id="2147485255" r:id="rId32"/>
    <p:sldLayoutId id="2147485256"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00"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latin typeface="Arial"/>
              </a:rPr>
              <a:t>- </a:t>
            </a:r>
            <a:fld id="{290C53EC-CF66-4122-B2D4-FBD43595D2C6}" type="slidenum">
              <a:rPr lang="en-US" sz="900">
                <a:solidFill>
                  <a:srgbClr val="000000"/>
                </a:solidFill>
                <a:latin typeface="Arial"/>
              </a:rPr>
              <a:pPr algn="ctr" eaLnBrk="0" hangingPunct="0">
                <a:lnSpc>
                  <a:spcPct val="106000"/>
                </a:lnSpc>
                <a:buClr>
                  <a:srgbClr val="000000"/>
                </a:buClr>
                <a:buSzPct val="65000"/>
                <a:buFont typeface="Wingdings" pitchFamily="2" charset="2"/>
                <a:buNone/>
                <a:defRPr/>
              </a:pPr>
              <a:t>‹#›</a:t>
            </a:fld>
            <a:r>
              <a:rPr lang="en-US" sz="900" dirty="0">
                <a:solidFill>
                  <a:srgbClr val="000000"/>
                </a:solidFill>
                <a:latin typeface="Aria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latin typeface="Aria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31143500"/>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372533" y="5447002"/>
            <a:ext cx="8229600" cy="987665"/>
          </a:xfrm>
          <a:prstGeom prst="rect">
            <a:avLst/>
          </a:prstGeom>
          <a:noFill/>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362452368"/>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Lst>
  <p:timing>
    <p:tnLst>
      <p:par>
        <p:cTn id="1" dur="indefinite" restart="never" nodeType="tmRoot"/>
      </p:par>
    </p:tnLst>
  </p:timing>
  <p:txStyles>
    <p:titleStyle>
      <a:lvl1pPr algn="ctr" defTabSz="457200" rtl="0" eaLnBrk="1" latinLnBrk="0" hangingPunct="1">
        <a:spcBef>
          <a:spcPct val="0"/>
        </a:spcBef>
        <a:buNone/>
        <a:defRPr sz="3600" b="1" i="0" u="none" kern="1200" baseline="0">
          <a:solidFill>
            <a:schemeClr val="bg1"/>
          </a:solidFill>
          <a:latin typeface="Arial"/>
          <a:ea typeface="+mj-ea"/>
          <a:cs typeface="Arial"/>
        </a:defRPr>
      </a:lvl1pPr>
    </p:titleStyle>
    <p:bodyStyle>
      <a:lvl1pPr marL="0" indent="0" algn="ctr" defTabSz="457200" rtl="0" eaLnBrk="1" latinLnBrk="0" hangingPunct="1">
        <a:spcBef>
          <a:spcPct val="20000"/>
        </a:spcBef>
        <a:buFont typeface="Arial"/>
        <a:buNone/>
        <a:defRPr sz="1600" b="1" kern="1200" baseline="0">
          <a:solidFill>
            <a:srgbClr val="FFFFF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rPr>
              <a:pPr/>
              <a:t>‹#›</a:t>
            </a:fld>
            <a:endParaRPr lang="en-US" dirty="0">
              <a:solidFill>
                <a:prstClr val="black">
                  <a:tint val="75000"/>
                </a:prstClr>
              </a:solidFill>
              <a:ea typeface="ＭＳ Ｐゴシック" pitchFamily="34" charset="-128"/>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71397768"/>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Lst>
  <p:timing>
    <p:tnLst>
      <p:par>
        <p:cTn id="1" dur="indefinite" restart="never" nodeType="tmRoot"/>
      </p:par>
    </p:tnLst>
  </p:timing>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15"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9685142"/>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4" r:id="rId32"/>
    <p:sldLayoutId id="2147485345" r:id="rId33"/>
    <p:sldLayoutId id="2147485346"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cs typeface="+mn-cs"/>
              </a:rPr>
              <a:pPr/>
              <a:t>‹#›</a:t>
            </a:fld>
            <a:endParaRPr lang="en-US" dirty="0">
              <a:solidFill>
                <a:prstClr val="black">
                  <a:tint val="75000"/>
                </a:prstClr>
              </a:solidFill>
              <a:ea typeface="ＭＳ Ｐゴシック" pitchFamily="34" charset="-128"/>
              <a:cs typeface="+mn-cs"/>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927699439"/>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 id="2147485353" r:id="rId6"/>
    <p:sldLayoutId id="2147485354" r:id="rId7"/>
    <p:sldLayoutId id="2147485355" r:id="rId8"/>
    <p:sldLayoutId id="2147485356" r:id="rId9"/>
  </p:sldLayoutIdLst>
  <p:timing>
    <p:tnLst>
      <p:par>
        <p:cTn id="1" dur="indefinite" restart="never" nodeType="tmRoot"/>
      </p:par>
    </p:tnLst>
  </p:timing>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0"/>
            </p:custDataLst>
            <p:extLst>
              <p:ext uri="{D42A27DB-BD31-4B8C-83A1-F6EECF244321}">
                <p14:modId xmlns:p14="http://schemas.microsoft.com/office/powerpoint/2010/main" val="313996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26"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pic>
        <p:nvPicPr>
          <p:cNvPr id="14" name="Picture 42" descr="C:\Users\taltimore\AppData\Local\Microsoft\Windows\Temporary Internet Files\Content.Outlook\5I1E2MHE\DSS_seal_color copy.jpg"/>
          <p:cNvPicPr>
            <a:picLocks noChangeAspect="1" noChangeArrowheads="1"/>
          </p:cNvPicPr>
          <p:nvPr>
            <p:custDataLst>
              <p:tags r:id="rId41"/>
            </p:custDataLst>
          </p:nvPr>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custDataLst>
              <p:tags r:id="rId42"/>
            </p:custDataLst>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custDataLst>
              <p:tags r:id="rId44"/>
            </p:custDataLst>
          </p:nvPr>
        </p:nvSpPr>
        <p:spPr bwMode="gray">
          <a:xfrm>
            <a:off x="8779014"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rgbClr val="000000"/>
                </a:buClr>
                <a:buSzPct val="65000"/>
                <a:buFont typeface="Wingdings" pitchFamily="2" charset="2"/>
                <a:buNone/>
                <a:defRPr/>
              </a:pPr>
              <a:t>‹#›</a:t>
            </a:fld>
            <a:r>
              <a:rPr lang="en-US" sz="900" dirty="0">
                <a:solidFill>
                  <a:srgbClr val="000000"/>
                </a:solidFill>
                <a:cs typeface="+mn-cs"/>
              </a:rPr>
              <a:t> -</a:t>
            </a:r>
          </a:p>
        </p:txBody>
      </p:sp>
      <p:sp>
        <p:nvSpPr>
          <p:cNvPr id="3699747" name="Line 35"/>
          <p:cNvSpPr>
            <a:spLocks noChangeShapeType="1"/>
          </p:cNvSpPr>
          <p:nvPr>
            <p:custDataLst>
              <p:tags r:id="rId45"/>
            </p:custDataLst>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Tree>
    <p:extLst>
      <p:ext uri="{BB962C8B-B14F-4D97-AF65-F5344CB8AC3E}">
        <p14:creationId xmlns:p14="http://schemas.microsoft.com/office/powerpoint/2010/main" val="978924907"/>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 id="2147484798" r:id="rId29"/>
    <p:sldLayoutId id="2147484799" r:id="rId30"/>
    <p:sldLayoutId id="2147484800" r:id="rId31"/>
    <p:sldLayoutId id="2147484801" r:id="rId32"/>
    <p:sldLayoutId id="2147484802" r:id="rId33"/>
    <p:sldLayoutId id="2147484803" r:id="rId34"/>
    <p:sldLayoutId id="2147484804" r:id="rId35"/>
    <p:sldLayoutId id="2147484805" r:id="rId36"/>
    <p:sldLayoutId id="2147484806"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18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769860078"/>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2" r:id="rId7"/>
    <p:sldLayoutId id="2147484833" r:id="rId8"/>
    <p:sldLayoutId id="2147484834" r:id="rId9"/>
    <p:sldLayoutId id="2147484835" r:id="rId10"/>
    <p:sldLayoutId id="2147484836" r:id="rId11"/>
    <p:sldLayoutId id="2147484837" r:id="rId12"/>
    <p:sldLayoutId id="2147484838" r:id="rId13"/>
    <p:sldLayoutId id="2147484839" r:id="rId14"/>
    <p:sldLayoutId id="2147484840" r:id="rId15"/>
    <p:sldLayoutId id="2147484841" r:id="rId16"/>
    <p:sldLayoutId id="2147484842" r:id="rId17"/>
    <p:sldLayoutId id="2147484843" r:id="rId18"/>
    <p:sldLayoutId id="2147484844" r:id="rId19"/>
    <p:sldLayoutId id="2147484845" r:id="rId20"/>
    <p:sldLayoutId id="2147484846" r:id="rId21"/>
    <p:sldLayoutId id="2147484847" r:id="rId22"/>
    <p:sldLayoutId id="2147484848" r:id="rId23"/>
    <p:sldLayoutId id="2147484849" r:id="rId24"/>
    <p:sldLayoutId id="2147484850" r:id="rId25"/>
    <p:sldLayoutId id="2147484851" r:id="rId26"/>
    <p:sldLayoutId id="2147484852" r:id="rId27"/>
    <p:sldLayoutId id="2147484853" r:id="rId28"/>
    <p:sldLayoutId id="2147484854" r:id="rId29"/>
    <p:sldLayoutId id="2147484855" r:id="rId30"/>
    <p:sldLayoutId id="2147484856" r:id="rId31"/>
    <p:sldLayoutId id="2147484857" r:id="rId32"/>
    <p:sldLayoutId id="2147484858" r:id="rId33"/>
    <p:sldLayoutId id="2147484859" r:id="rId34"/>
    <p:sldLayoutId id="2147484860" r:id="rId35"/>
    <p:sldLayoutId id="2147484861" r:id="rId36"/>
    <p:sldLayoutId id="2147484862"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rgbClr val="002060"/>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5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553"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5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5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5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78834425"/>
      </p:ext>
    </p:extLst>
  </p:cSld>
  <p:clrMap bg1="lt1" tx1="dk1" bg2="lt2" tx2="dk2" accent1="accent1" accent2="accent2" accent3="accent3" accent4="accent4" accent5="accent5" accent6="accent6" hlink="hlink" folHlink="folHlink"/>
  <p:sldLayoutIdLst>
    <p:sldLayoutId id="2147484881" r:id="rId1"/>
    <p:sldLayoutId id="2147484882" r:id="rId2"/>
    <p:sldLayoutId id="2147484883" r:id="rId3"/>
    <p:sldLayoutId id="2147484884" r:id="rId4"/>
    <p:sldLayoutId id="2147484885" r:id="rId5"/>
    <p:sldLayoutId id="2147484886" r:id="rId6"/>
    <p:sldLayoutId id="2147484887" r:id="rId7"/>
    <p:sldLayoutId id="2147484888" r:id="rId8"/>
    <p:sldLayoutId id="2147484889" r:id="rId9"/>
    <p:sldLayoutId id="2147484890" r:id="rId10"/>
    <p:sldLayoutId id="2147484891" r:id="rId11"/>
    <p:sldLayoutId id="2147484892" r:id="rId12"/>
    <p:sldLayoutId id="2147484893" r:id="rId13"/>
    <p:sldLayoutId id="2147484894" r:id="rId14"/>
    <p:sldLayoutId id="2147484895" r:id="rId15"/>
    <p:sldLayoutId id="2147484896" r:id="rId16"/>
    <p:sldLayoutId id="2147484897" r:id="rId17"/>
    <p:sldLayoutId id="2147484898" r:id="rId18"/>
    <p:sldLayoutId id="2147484899" r:id="rId19"/>
    <p:sldLayoutId id="2147484900" r:id="rId20"/>
    <p:sldLayoutId id="2147484901" r:id="rId21"/>
    <p:sldLayoutId id="2147484902" r:id="rId22"/>
    <p:sldLayoutId id="2147484903" r:id="rId23"/>
    <p:sldLayoutId id="2147484904" r:id="rId24"/>
    <p:sldLayoutId id="2147484905" r:id="rId25"/>
    <p:sldLayoutId id="2147484906" r:id="rId26"/>
    <p:sldLayoutId id="2147484907" r:id="rId27"/>
    <p:sldLayoutId id="2147484908" r:id="rId28"/>
    <p:sldLayoutId id="2147484909" r:id="rId29"/>
    <p:sldLayoutId id="2147484910" r:id="rId30"/>
    <p:sldLayoutId id="2147484911" r:id="rId31"/>
    <p:sldLayoutId id="2147484912" r:id="rId32"/>
    <p:sldLayoutId id="2147484913" r:id="rId33"/>
    <p:sldLayoutId id="2147484914" r:id="rId34"/>
    <p:sldLayoutId id="2147484915" r:id="rId35"/>
    <p:sldLayoutId id="2147484917" r:id="rId36"/>
    <p:sldLayoutId id="2147484918" r:id="rId37"/>
    <p:sldLayoutId id="2147484919" r:id="rId38"/>
    <p:sldLayoutId id="2147484920" r:id="rId39"/>
    <p:sldLayoutId id="2147484921" r:id="rId40"/>
    <p:sldLayoutId id="2147484922" r:id="rId41"/>
    <p:sldLayoutId id="2147484923" r:id="rId42"/>
    <p:sldLayoutId id="2147484924" r:id="rId43"/>
    <p:sldLayoutId id="2147484925" r:id="rId44"/>
    <p:sldLayoutId id="2147484926" r:id="rId45"/>
    <p:sldLayoutId id="2147484927" r:id="rId46"/>
    <p:sldLayoutId id="2147484928" r:id="rId4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9261"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77888029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 id="2147484949" r:id="rId17"/>
    <p:sldLayoutId id="2147484950" r:id="rId18"/>
    <p:sldLayoutId id="2147484951" r:id="rId19"/>
    <p:sldLayoutId id="2147484952" r:id="rId20"/>
    <p:sldLayoutId id="2147484953" r:id="rId21"/>
    <p:sldLayoutId id="2147484954" r:id="rId22"/>
    <p:sldLayoutId id="2147484955" r:id="rId23"/>
    <p:sldLayoutId id="2147484956" r:id="rId24"/>
    <p:sldLayoutId id="2147484957" r:id="rId25"/>
    <p:sldLayoutId id="2147484958" r:id="rId26"/>
    <p:sldLayoutId id="2147484959" r:id="rId27"/>
    <p:sldLayoutId id="2147484960" r:id="rId28"/>
    <p:sldLayoutId id="2147484961" r:id="rId29"/>
    <p:sldLayoutId id="2147484962" r:id="rId30"/>
    <p:sldLayoutId id="2147484963" r:id="rId31"/>
    <p:sldLayoutId id="2147484968" r:id="rId32"/>
    <p:sldLayoutId id="2147484969"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028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893459769"/>
      </p:ext>
    </p:extLst>
  </p:cSld>
  <p:clrMap bg1="lt1" tx1="dk1" bg2="lt2" tx2="dk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7" r:id="rId35"/>
    <p:sldLayoutId id="2147485008" r:id="rId36"/>
    <p:sldLayoutId id="2147485009"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114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1350740106"/>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45" r:id="rId18"/>
    <p:sldLayoutId id="2147485046" r:id="rId19"/>
    <p:sldLayoutId id="2147485047" r:id="rId20"/>
    <p:sldLayoutId id="2147485048" r:id="rId21"/>
    <p:sldLayoutId id="2147485049" r:id="rId22"/>
    <p:sldLayoutId id="2147485050" r:id="rId23"/>
    <p:sldLayoutId id="2147485051" r:id="rId24"/>
    <p:sldLayoutId id="2147485052" r:id="rId25"/>
    <p:sldLayoutId id="2147485053" r:id="rId26"/>
    <p:sldLayoutId id="2147485054" r:id="rId27"/>
    <p:sldLayoutId id="2147485055" r:id="rId28"/>
    <p:sldLayoutId id="2147485056" r:id="rId29"/>
    <p:sldLayoutId id="2147485057" r:id="rId30"/>
    <p:sldLayoutId id="2147485058" r:id="rId31"/>
    <p:sldLayoutId id="2147485059" r:id="rId32"/>
    <p:sldLayoutId id="2147485060" r:id="rId33"/>
    <p:sldLayoutId id="2147485061" r:id="rId34"/>
    <p:sldLayoutId id="2147485063" r:id="rId35"/>
    <p:sldLayoutId id="2147485065" r:id="rId36"/>
    <p:sldLayoutId id="2147485066"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165"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317560561"/>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8" r:id="rId11"/>
    <p:sldLayoutId id="2147485079" r:id="rId12"/>
    <p:sldLayoutId id="2147485080" r:id="rId13"/>
    <p:sldLayoutId id="2147485081" r:id="rId14"/>
    <p:sldLayoutId id="2147485082" r:id="rId15"/>
    <p:sldLayoutId id="2147485083" r:id="rId16"/>
    <p:sldLayoutId id="2147485084" r:id="rId17"/>
    <p:sldLayoutId id="2147485085" r:id="rId18"/>
    <p:sldLayoutId id="2147485086" r:id="rId19"/>
    <p:sldLayoutId id="2147485087" r:id="rId20"/>
    <p:sldLayoutId id="2147485088" r:id="rId21"/>
    <p:sldLayoutId id="2147485089" r:id="rId22"/>
    <p:sldLayoutId id="2147485090" r:id="rId23"/>
    <p:sldLayoutId id="2147485091" r:id="rId24"/>
    <p:sldLayoutId id="2147485092" r:id="rId25"/>
    <p:sldLayoutId id="2147485093" r:id="rId26"/>
    <p:sldLayoutId id="2147485094" r:id="rId27"/>
    <p:sldLayoutId id="2147485095" r:id="rId28"/>
    <p:sldLayoutId id="2147485096" r:id="rId29"/>
    <p:sldLayoutId id="2147485097" r:id="rId30"/>
    <p:sldLayoutId id="2147485098" r:id="rId31"/>
    <p:sldLayoutId id="2147485100" r:id="rId32"/>
    <p:sldLayoutId id="2147485102" r:id="rId33"/>
    <p:sldLayoutId id="2147485103"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3188"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623504718"/>
      </p:ext>
    </p:extLst>
  </p:cSld>
  <p:clrMap bg1="lt1" tx1="dk1" bg2="lt2" tx2="dk2" accent1="accent1" accent2="accent2" accent3="accent3" accent4="accent4" accent5="accent5" accent6="accent6" hlink="hlink" folHlink="folHlink"/>
  <p:sldLayoutIdLst>
    <p:sldLayoutId id="2147485107" r:id="rId1"/>
    <p:sldLayoutId id="2147485108" r:id="rId2"/>
    <p:sldLayoutId id="2147485109" r:id="rId3"/>
    <p:sldLayoutId id="2147485110" r:id="rId4"/>
    <p:sldLayoutId id="2147485111" r:id="rId5"/>
    <p:sldLayoutId id="2147485112" r:id="rId6"/>
    <p:sldLayoutId id="2147485113" r:id="rId7"/>
    <p:sldLayoutId id="2147485114" r:id="rId8"/>
    <p:sldLayoutId id="2147485115" r:id="rId9"/>
    <p:sldLayoutId id="2147485116" r:id="rId10"/>
    <p:sldLayoutId id="2147485117" r:id="rId11"/>
    <p:sldLayoutId id="2147485118" r:id="rId12"/>
    <p:sldLayoutId id="2147485119" r:id="rId13"/>
    <p:sldLayoutId id="2147485120" r:id="rId14"/>
    <p:sldLayoutId id="2147485121" r:id="rId15"/>
    <p:sldLayoutId id="2147485122" r:id="rId16"/>
    <p:sldLayoutId id="2147485123" r:id="rId17"/>
    <p:sldLayoutId id="2147485124" r:id="rId18"/>
    <p:sldLayoutId id="2147485125" r:id="rId19"/>
    <p:sldLayoutId id="2147485126" r:id="rId20"/>
    <p:sldLayoutId id="2147485127" r:id="rId21"/>
    <p:sldLayoutId id="2147485128" r:id="rId22"/>
    <p:sldLayoutId id="2147485129" r:id="rId23"/>
    <p:sldLayoutId id="2147485130" r:id="rId24"/>
    <p:sldLayoutId id="2147485131" r:id="rId25"/>
    <p:sldLayoutId id="2147485132" r:id="rId26"/>
    <p:sldLayoutId id="2147485133" r:id="rId27"/>
    <p:sldLayoutId id="2147485134" r:id="rId28"/>
    <p:sldLayoutId id="2147485135" r:id="rId29"/>
    <p:sldLayoutId id="2147485136" r:id="rId30"/>
    <p:sldLayoutId id="2147485137" r:id="rId31"/>
    <p:sldLayoutId id="2147485138" r:id="rId32"/>
    <p:sldLayoutId id="2147485143" r:id="rId33"/>
    <p:sldLayoutId id="2147485144"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60.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154.xml"/></Relationships>
</file>

<file path=ppt/slides/_rels/slide13.xml.rels><?xml version="1.0" encoding="UTF-8" standalone="yes"?>
<Relationships xmlns="http://schemas.openxmlformats.org/package/2006/relationships"><Relationship Id="rId8" Type="http://schemas.openxmlformats.org/officeDocument/2006/relationships/hyperlink" Target="DSS%20RMF%20SSP%20Template%20M-l-l%20%20with%20Controls%20%20Overlays_9%20May%2016%20v5.docx"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15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15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15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15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15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8.xml"/><Relationship Id="rId1" Type="http://schemas.openxmlformats.org/officeDocument/2006/relationships/slideLayout" Target="../slideLayouts/slideLayout15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9.xml"/><Relationship Id="rId1" Type="http://schemas.openxmlformats.org/officeDocument/2006/relationships/slideLayout" Target="../slideLayouts/slideLayout15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0.xml"/><Relationship Id="rId1" Type="http://schemas.openxmlformats.org/officeDocument/2006/relationships/slideLayout" Target="../slideLayouts/slideLayout15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1.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hyperlink" Target="http://www.nist.gov/" TargetMode="External"/><Relationship Id="rId7" Type="http://schemas.openxmlformats.org/officeDocument/2006/relationships/diagramColors" Target="../diagrams/colors9.xml"/><Relationship Id="rId2" Type="http://schemas.openxmlformats.org/officeDocument/2006/relationships/notesSlide" Target="../notesSlides/notesSlide21.xml"/><Relationship Id="rId1" Type="http://schemas.openxmlformats.org/officeDocument/2006/relationships/slideLayout" Target="../slideLayouts/slideLayout154.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4.xml"/></Relationships>
</file>

<file path=ppt/slides/_rels/slide2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3.xml"/><Relationship Id="rId1" Type="http://schemas.openxmlformats.org/officeDocument/2006/relationships/slideLayout" Target="../slideLayouts/slideLayout46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5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idx="1"/>
          </p:nvPr>
        </p:nvSpPr>
        <p:spPr>
          <a:xfrm>
            <a:off x="704850" y="2636846"/>
            <a:ext cx="7734300" cy="1148926"/>
          </a:xfrm>
        </p:spPr>
        <p:txBody>
          <a:bodyPr>
            <a:noAutofit/>
          </a:bodyPr>
          <a:lstStyle/>
          <a:p>
            <a:pPr marL="0" indent="0" algn="ctr">
              <a:spcBef>
                <a:spcPts val="600"/>
              </a:spcBef>
              <a:buNone/>
            </a:pPr>
            <a:r>
              <a:rPr lang="en-US" sz="3600" b="1" dirty="0" smtClean="0">
                <a:solidFill>
                  <a:schemeClr val="bg1"/>
                </a:solidFill>
                <a:latin typeface="Arial" panose="020B0604020202020204" pitchFamily="34" charset="0"/>
                <a:cs typeface="Arial" panose="020B0604020202020204" pitchFamily="34" charset="0"/>
              </a:rPr>
              <a:t>Risk Management Framework (RMF)</a:t>
            </a:r>
          </a:p>
          <a:p>
            <a:pPr marL="0" indent="0" algn="ctr">
              <a:spcBef>
                <a:spcPts val="600"/>
              </a:spcBef>
              <a:buNone/>
            </a:pPr>
            <a:endParaRPr lang="en-US" sz="3600" b="1" dirty="0">
              <a:solidFill>
                <a:schemeClr val="bg1"/>
              </a:solidFill>
              <a:latin typeface="Arial" panose="020B0604020202020204" pitchFamily="34" charset="0"/>
              <a:cs typeface="Arial" panose="020B0604020202020204" pitchFamily="34" charset="0"/>
            </a:endParaRPr>
          </a:p>
          <a:p>
            <a:pPr marL="0" indent="0" algn="ctr">
              <a:spcBef>
                <a:spcPts val="600"/>
              </a:spcBef>
              <a:buNone/>
            </a:pPr>
            <a:endParaRPr lang="en-US" sz="3600" b="1" dirty="0" smtClean="0">
              <a:solidFill>
                <a:schemeClr val="bg1"/>
              </a:solidFill>
              <a:latin typeface="Arial" panose="020B0604020202020204" pitchFamily="34" charset="0"/>
              <a:cs typeface="Arial" panose="020B0604020202020204" pitchFamily="34" charset="0"/>
            </a:endParaRPr>
          </a:p>
          <a:p>
            <a:pPr marL="0" indent="0" algn="ctr">
              <a:spcBef>
                <a:spcPts val="600"/>
              </a:spcBef>
              <a:buNone/>
            </a:pPr>
            <a:r>
              <a:rPr lang="en-US" sz="2400" b="1" dirty="0" smtClean="0">
                <a:latin typeface="Arial" panose="020B0604020202020204" pitchFamily="34" charset="0"/>
                <a:cs typeface="Arial" panose="020B0604020202020204" pitchFamily="34" charset="0"/>
              </a:rPr>
              <a:t>August 2016</a:t>
            </a:r>
          </a:p>
        </p:txBody>
      </p:sp>
      <p:sp>
        <p:nvSpPr>
          <p:cNvPr id="5" name="Title 1"/>
          <p:cNvSpPr txBox="1">
            <a:spLocks/>
          </p:cNvSpPr>
          <p:nvPr/>
        </p:nvSpPr>
        <p:spPr>
          <a:xfrm>
            <a:off x="960278" y="2077718"/>
            <a:ext cx="7223443" cy="403074"/>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 typeface="Arial"/>
              <a:buNone/>
            </a:pPr>
            <a:r>
              <a:rPr lang="en-US" sz="2400" b="1" dirty="0" smtClean="0">
                <a:solidFill>
                  <a:prstClr val="white"/>
                </a:solidFill>
                <a:latin typeface="Arial" panose="020B0604020202020204" pitchFamily="34" charset="0"/>
                <a:cs typeface="Arial" panose="020B0604020202020204" pitchFamily="34" charset="0"/>
              </a:rPr>
              <a:t>Defense Security Service</a:t>
            </a:r>
          </a:p>
          <a:p>
            <a:pPr marL="0" indent="0" algn="ctr" fontAlgn="auto">
              <a:spcAft>
                <a:spcPts val="0"/>
              </a:spcAft>
              <a:buFont typeface="Arial"/>
              <a:buNone/>
            </a:pPr>
            <a:endParaRPr lang="en-US" sz="2000" b="1"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6147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t>RMF Process Walk Through: Introduction</a:t>
            </a:r>
            <a:endParaRPr lang="en-US" dirty="0"/>
          </a:p>
        </p:txBody>
      </p:sp>
      <p:sp>
        <p:nvSpPr>
          <p:cNvPr id="4" name="TextBox 3"/>
          <p:cNvSpPr txBox="1"/>
          <p:nvPr/>
        </p:nvSpPr>
        <p:spPr>
          <a:xfrm>
            <a:off x="477838" y="1054100"/>
            <a:ext cx="8247062" cy="875368"/>
          </a:xfrm>
          <a:prstGeom prst="rect">
            <a:avLst/>
          </a:prstGeom>
        </p:spPr>
        <p:txBody>
          <a:bodyPr wrap="square" rtlCol="0">
            <a:spAutoFit/>
          </a:bodyPr>
          <a:lstStyle/>
          <a:p>
            <a:pPr eaLnBrk="0" hangingPunct="0">
              <a:lnSpc>
                <a:spcPct val="106000"/>
              </a:lnSpc>
            </a:pPr>
            <a:r>
              <a:rPr lang="en-US" sz="1200" b="1" dirty="0">
                <a:solidFill>
                  <a:srgbClr val="000000"/>
                </a:solidFill>
              </a:rPr>
              <a:t>RMF is a </a:t>
            </a:r>
            <a:r>
              <a:rPr lang="en-US" sz="1200" b="1" dirty="0" smtClean="0">
                <a:solidFill>
                  <a:srgbClr val="000000"/>
                </a:solidFill>
              </a:rPr>
              <a:t>six step </a:t>
            </a:r>
            <a:r>
              <a:rPr lang="en-US" sz="1200" b="1" dirty="0">
                <a:solidFill>
                  <a:srgbClr val="000000"/>
                </a:solidFill>
              </a:rPr>
              <a:t>process designed to build information security capabilities </a:t>
            </a:r>
            <a:r>
              <a:rPr lang="en-US" sz="1200" b="1" dirty="0" smtClean="0">
                <a:solidFill>
                  <a:srgbClr val="000000"/>
                </a:solidFill>
              </a:rPr>
              <a:t>into </a:t>
            </a:r>
            <a:r>
              <a:rPr lang="en-US" sz="1200" b="1" dirty="0">
                <a:solidFill>
                  <a:srgbClr val="000000"/>
                </a:solidFill>
              </a:rPr>
              <a:t>I</a:t>
            </a:r>
            <a:r>
              <a:rPr lang="en-US" sz="1200" b="1" dirty="0" smtClean="0">
                <a:solidFill>
                  <a:srgbClr val="000000"/>
                </a:solidFill>
              </a:rPr>
              <a:t>nformation </a:t>
            </a:r>
            <a:r>
              <a:rPr lang="en-US" sz="1200" b="1" dirty="0">
                <a:solidFill>
                  <a:srgbClr val="000000"/>
                </a:solidFill>
              </a:rPr>
              <a:t>S</a:t>
            </a:r>
            <a:r>
              <a:rPr lang="en-US" sz="1200" b="1" dirty="0" smtClean="0">
                <a:solidFill>
                  <a:srgbClr val="000000"/>
                </a:solidFill>
              </a:rPr>
              <a:t>ystems </a:t>
            </a:r>
            <a:r>
              <a:rPr lang="en-US" sz="1200" b="1" dirty="0">
                <a:solidFill>
                  <a:srgbClr val="000000"/>
                </a:solidFill>
              </a:rPr>
              <a:t>(IS) </a:t>
            </a:r>
            <a:r>
              <a:rPr lang="en-US" sz="1200" b="1" dirty="0" smtClean="0">
                <a:solidFill>
                  <a:srgbClr val="000000"/>
                </a:solidFill>
              </a:rPr>
              <a:t>throughout the NISP through </a:t>
            </a:r>
            <a:r>
              <a:rPr lang="en-US" sz="1200" b="1" dirty="0">
                <a:solidFill>
                  <a:srgbClr val="000000"/>
                </a:solidFill>
              </a:rPr>
              <a:t>the application of community best practices for IS management, operational, and technical security controls. The RMF process is explained in further detail in the ISOM and </a:t>
            </a:r>
            <a:r>
              <a:rPr lang="en-US" sz="1200" b="1" dirty="0" smtClean="0">
                <a:solidFill>
                  <a:srgbClr val="000000"/>
                </a:solidFill>
              </a:rPr>
              <a:t>the DAAPM.</a:t>
            </a:r>
            <a:endParaRPr lang="en-US" sz="1200" b="1" dirty="0">
              <a:solidFill>
                <a:srgbClr val="000000"/>
              </a:solidFill>
            </a:endParaRPr>
          </a:p>
          <a:p>
            <a:pPr eaLnBrk="0" hangingPunct="0">
              <a:lnSpc>
                <a:spcPct val="106000"/>
              </a:lnSpc>
            </a:pPr>
            <a:endParaRPr lang="en-US" sz="1200" b="1" dirty="0">
              <a:solidFill>
                <a:srgbClr val="000000"/>
              </a:solidFill>
            </a:endParaRPr>
          </a:p>
        </p:txBody>
      </p:sp>
      <p:graphicFrame>
        <p:nvGraphicFramePr>
          <p:cNvPr id="7" name="Diagram 6"/>
          <p:cNvGraphicFramePr/>
          <p:nvPr>
            <p:extLst>
              <p:ext uri="{D42A27DB-BD31-4B8C-83A1-F6EECF244321}">
                <p14:modId xmlns:p14="http://schemas.microsoft.com/office/powerpoint/2010/main" val="1574590374"/>
              </p:ext>
            </p:extLst>
          </p:nvPr>
        </p:nvGraphicFramePr>
        <p:xfrm>
          <a:off x="968829" y="2383971"/>
          <a:ext cx="7053941" cy="43869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600449" y="4101253"/>
            <a:ext cx="1790700" cy="952377"/>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800" b="1" kern="1200" dirty="0" smtClean="0">
                <a:solidFill>
                  <a:srgbClr val="000000"/>
                </a:solidFill>
                <a:latin typeface="Arial"/>
                <a:ea typeface="+mn-ea"/>
                <a:cs typeface="Arial" charset="0"/>
              </a:rPr>
              <a:t>Risk Management Framework</a:t>
            </a:r>
            <a:endParaRPr lang="en-US" sz="1800" b="1"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4310365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7" name="Diagram 6"/>
          <p:cNvGraphicFramePr/>
          <p:nvPr>
            <p:extLst>
              <p:ext uri="{D42A27DB-BD31-4B8C-83A1-F6EECF244321}">
                <p14:modId xmlns:p14="http://schemas.microsoft.com/office/powerpoint/2010/main" val="3058559990"/>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11" name="TextBox 10"/>
          <p:cNvSpPr txBox="1"/>
          <p:nvPr/>
        </p:nvSpPr>
        <p:spPr>
          <a:xfrm>
            <a:off x="326439" y="981009"/>
            <a:ext cx="8549858" cy="2832955"/>
          </a:xfrm>
          <a:prstGeom prst="rect">
            <a:avLst/>
          </a:prstGeom>
        </p:spPr>
        <p:txBody>
          <a:bodyPr wrap="square" rtlCol="0">
            <a:spAutoFit/>
          </a:bodyPr>
          <a:lstStyle/>
          <a:p>
            <a:pPr eaLnBrk="0" hangingPunct="0">
              <a:lnSpc>
                <a:spcPct val="106000"/>
              </a:lnSpc>
            </a:pPr>
            <a:r>
              <a:rPr lang="en-US" sz="1200" b="1" dirty="0">
                <a:solidFill>
                  <a:srgbClr val="000000"/>
                </a:solidFill>
              </a:rPr>
              <a:t>Step 1: Categorize the </a:t>
            </a:r>
            <a:r>
              <a:rPr lang="en-US" sz="1200" b="1" dirty="0" smtClean="0">
                <a:solidFill>
                  <a:srgbClr val="000000"/>
                </a:solidFill>
              </a:rPr>
              <a:t>IS</a:t>
            </a:r>
            <a:endParaRPr lang="en-US" sz="1200" b="1" dirty="0">
              <a:solidFill>
                <a:srgbClr val="000000"/>
              </a:solidFill>
            </a:endParaRPr>
          </a:p>
          <a:p>
            <a:pPr marL="285750" indent="-285750" eaLnBrk="0" hangingPunct="0">
              <a:lnSpc>
                <a:spcPct val="106000"/>
              </a:lnSpc>
              <a:buFont typeface="Wingdings" panose="05000000000000000000" pitchFamily="2" charset="2"/>
              <a:buChar char="ü"/>
            </a:pPr>
            <a:r>
              <a:rPr lang="en-US" sz="1200" dirty="0">
                <a:solidFill>
                  <a:srgbClr val="000000"/>
                </a:solidFill>
              </a:rPr>
              <a:t>The ISSM/ISSO categorizes the IS based on the impact due to a loss of confidentiality (moderate/high), integrity (low/moderate/high), and availability (low/moderate/high) of the information or IS according to information provided by the IO. </a:t>
            </a:r>
            <a:endParaRPr lang="en-US" sz="1200" dirty="0" smtClean="0">
              <a:solidFill>
                <a:srgbClr val="000000"/>
              </a:solidFill>
            </a:endParaRPr>
          </a:p>
          <a:p>
            <a:pPr marL="285750" indent="-285750" eaLnBrk="0" hangingPunct="0">
              <a:lnSpc>
                <a:spcPct val="106000"/>
              </a:lnSpc>
              <a:buFont typeface="Wingdings" panose="05000000000000000000" pitchFamily="2" charset="2"/>
              <a:buChar char="ü"/>
            </a:pPr>
            <a:r>
              <a:rPr lang="en-US" sz="1200" dirty="0" smtClean="0">
                <a:solidFill>
                  <a:srgbClr val="000000"/>
                </a:solidFill>
              </a:rPr>
              <a:t>Industry should perform a Risk/Threat Assessment for specific concerns for their Facility/Program.</a:t>
            </a:r>
            <a:endParaRPr lang="en-US" sz="1200" dirty="0">
              <a:solidFill>
                <a:srgbClr val="000000"/>
              </a:solidFill>
            </a:endParaRPr>
          </a:p>
          <a:p>
            <a:pPr marL="285750" indent="-285750" eaLnBrk="0" hangingPunct="0">
              <a:lnSpc>
                <a:spcPct val="106000"/>
              </a:lnSpc>
              <a:buFont typeface="Wingdings" panose="05000000000000000000" pitchFamily="2" charset="2"/>
              <a:buChar char="ü"/>
            </a:pPr>
            <a:r>
              <a:rPr lang="en-US" sz="1200" dirty="0" smtClean="0">
                <a:solidFill>
                  <a:srgbClr val="000000"/>
                </a:solidFill>
              </a:rPr>
              <a:t>Absent </a:t>
            </a:r>
            <a:r>
              <a:rPr lang="en-US" sz="1200" dirty="0">
                <a:solidFill>
                  <a:srgbClr val="000000"/>
                </a:solidFill>
              </a:rPr>
              <a:t>any other requirements </a:t>
            </a:r>
            <a:r>
              <a:rPr lang="en-US" sz="1200" dirty="0" smtClean="0">
                <a:solidFill>
                  <a:srgbClr val="000000"/>
                </a:solidFill>
              </a:rPr>
              <a:t>Industry may use the </a:t>
            </a:r>
            <a:r>
              <a:rPr lang="en-US" sz="1200" dirty="0">
                <a:solidFill>
                  <a:srgbClr val="000000"/>
                </a:solidFill>
              </a:rPr>
              <a:t>DSS baseline </a:t>
            </a:r>
            <a:r>
              <a:rPr lang="en-US" sz="1200" dirty="0" smtClean="0">
                <a:solidFill>
                  <a:srgbClr val="000000"/>
                </a:solidFill>
              </a:rPr>
              <a:t>of moderate/low/low</a:t>
            </a:r>
            <a:r>
              <a:rPr lang="en-US" sz="1200" dirty="0">
                <a:solidFill>
                  <a:srgbClr val="000000"/>
                </a:solidFill>
              </a:rPr>
              <a:t>.</a:t>
            </a:r>
          </a:p>
          <a:p>
            <a:pPr marL="285750" indent="-285750" eaLnBrk="0" hangingPunct="0">
              <a:lnSpc>
                <a:spcPct val="106000"/>
              </a:lnSpc>
              <a:buFont typeface="Wingdings" panose="05000000000000000000" pitchFamily="2" charset="2"/>
              <a:buChar char="ü"/>
            </a:pPr>
            <a:r>
              <a:rPr lang="en-US" sz="1200" dirty="0">
                <a:solidFill>
                  <a:srgbClr val="000000"/>
                </a:solidFill>
              </a:rPr>
              <a:t>The ISSM then documents the description, including the system/authorization boundary in the System Security Plan (SSP</a:t>
            </a:r>
            <a:r>
              <a:rPr lang="en-US" sz="1200" dirty="0" smtClean="0">
                <a:solidFill>
                  <a:srgbClr val="000000"/>
                </a:solidFill>
              </a:rPr>
              <a:t>)</a:t>
            </a:r>
            <a:r>
              <a:rPr lang="en-US" sz="1200" dirty="0"/>
              <a:t> </a:t>
            </a:r>
            <a:endParaRPr lang="en-US" sz="1200" dirty="0" smtClean="0"/>
          </a:p>
          <a:p>
            <a:pPr marL="285750" indent="-285750" eaLnBrk="0" hangingPunct="0">
              <a:lnSpc>
                <a:spcPct val="106000"/>
              </a:lnSpc>
              <a:buFont typeface="Wingdings" panose="05000000000000000000" pitchFamily="2" charset="2"/>
              <a:buChar char="ü"/>
            </a:pPr>
            <a:r>
              <a:rPr lang="en-US" sz="1200" dirty="0" smtClean="0"/>
              <a:t>ISSM assign </a:t>
            </a:r>
            <a:r>
              <a:rPr lang="en-US" sz="1200" dirty="0"/>
              <a:t>qualified personnel to RMF roles and document team member assignments in the Security Plan </a:t>
            </a:r>
            <a:endParaRPr lang="en-US" sz="1200" dirty="0" smtClean="0">
              <a:solidFill>
                <a:srgbClr val="000000"/>
              </a:solidFill>
            </a:endParaRPr>
          </a:p>
          <a:p>
            <a:pPr marL="285750" indent="-285750" eaLnBrk="0" hangingPunct="0">
              <a:lnSpc>
                <a:spcPct val="106000"/>
              </a:lnSpc>
              <a:buFont typeface="Wingdings" panose="05000000000000000000" pitchFamily="2" charset="2"/>
              <a:buChar char="ü"/>
            </a:pPr>
            <a:endParaRPr lang="en-US" sz="1200" dirty="0">
              <a:solidFill>
                <a:srgbClr val="000000"/>
              </a:solidFill>
            </a:endParaRP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smtClean="0">
                <a:solidFill>
                  <a:srgbClr val="000000"/>
                </a:solidFill>
              </a:rPr>
              <a:t>Artifact(s): </a:t>
            </a:r>
            <a:r>
              <a:rPr lang="en-US" sz="1200" dirty="0">
                <a:solidFill>
                  <a:srgbClr val="000000"/>
                </a:solidFill>
              </a:rPr>
              <a:t>Risk </a:t>
            </a:r>
            <a:r>
              <a:rPr lang="en-US" sz="1200" dirty="0" smtClean="0">
                <a:solidFill>
                  <a:srgbClr val="000000"/>
                </a:solidFill>
              </a:rPr>
              <a:t>Assessment and start initial SSP </a:t>
            </a:r>
            <a:r>
              <a:rPr lang="en-US" sz="1200" dirty="0">
                <a:solidFill>
                  <a:srgbClr val="000000"/>
                </a:solidFill>
              </a:rPr>
              <a:t>describing the </a:t>
            </a:r>
            <a:r>
              <a:rPr lang="en-US" sz="1200" dirty="0" smtClean="0">
                <a:solidFill>
                  <a:srgbClr val="000000"/>
                </a:solidFill>
              </a:rPr>
              <a:t>IS Risk(s) </a:t>
            </a:r>
            <a:endParaRPr lang="en-US" sz="1200" dirty="0">
              <a:solidFill>
                <a:srgbClr val="000000"/>
              </a:solidFill>
            </a:endParaRPr>
          </a:p>
          <a:p>
            <a:pPr marL="171450" indent="-171450" eaLnBrk="0" hangingPunct="0">
              <a:lnSpc>
                <a:spcPct val="106000"/>
              </a:lnSpc>
              <a:buFont typeface="Arial" panose="020B0604020202020204" pitchFamily="34" charset="0"/>
              <a:buChar char="•"/>
            </a:pPr>
            <a:r>
              <a:rPr lang="en-US" sz="1200" dirty="0" smtClean="0">
                <a:solidFill>
                  <a:srgbClr val="000000"/>
                </a:solidFill>
              </a:rPr>
              <a:t>See NIST SP 800-30 (Risk Assessment) for additional guidance.</a:t>
            </a:r>
          </a:p>
          <a:p>
            <a:pPr eaLnBrk="0" hangingPunct="0">
              <a:lnSpc>
                <a:spcPct val="106000"/>
              </a:lnSpc>
            </a:pPr>
            <a:endParaRPr lang="en-US" sz="1200" b="1" dirty="0">
              <a:solidFill>
                <a:srgbClr val="000000"/>
              </a:solidFill>
            </a:endParaRPr>
          </a:p>
        </p:txBody>
      </p:sp>
      <p:sp>
        <p:nvSpPr>
          <p:cNvPr id="12" name="Rectangle 11"/>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42852373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t>Risk Assessment Report (RAR)</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9280" y="959888"/>
            <a:ext cx="5842119" cy="5317484"/>
          </a:xfrm>
          <a:prstGeom prst="rect">
            <a:avLst/>
          </a:prstGeom>
        </p:spPr>
      </p:pic>
    </p:spTree>
    <p:extLst>
      <p:ext uri="{BB962C8B-B14F-4D97-AF65-F5344CB8AC3E}">
        <p14:creationId xmlns:p14="http://schemas.microsoft.com/office/powerpoint/2010/main" val="35091440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9" name="Diagram 8"/>
          <p:cNvGraphicFramePr/>
          <p:nvPr>
            <p:extLst>
              <p:ext uri="{D42A27DB-BD31-4B8C-83A1-F6EECF244321}">
                <p14:modId xmlns:p14="http://schemas.microsoft.com/office/powerpoint/2010/main" val="61659712"/>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7" name="TextBox 6"/>
          <p:cNvSpPr txBox="1"/>
          <p:nvPr/>
        </p:nvSpPr>
        <p:spPr>
          <a:xfrm>
            <a:off x="326439" y="981009"/>
            <a:ext cx="8549858" cy="2637197"/>
          </a:xfrm>
          <a:prstGeom prst="rect">
            <a:avLst/>
          </a:prstGeom>
        </p:spPr>
        <p:txBody>
          <a:bodyPr wrap="square" rtlCol="0">
            <a:spAutoFit/>
          </a:bodyPr>
          <a:lstStyle/>
          <a:p>
            <a:pPr eaLnBrk="0" hangingPunct="0">
              <a:lnSpc>
                <a:spcPct val="106000"/>
              </a:lnSpc>
            </a:pPr>
            <a:r>
              <a:rPr lang="en-US" sz="1200" b="1" dirty="0">
                <a:solidFill>
                  <a:srgbClr val="000000"/>
                </a:solidFill>
              </a:rPr>
              <a:t>Step 2: Select Security Control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and ISSO, as appropriate) selects the security control baseline applicable to the IS based upon the results of the categorization and tailors the controls as needed by supplementing, modifying, or tailoring out controls to effectively manage risk for any unique system condition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and ISSO, as appropriate) develops a strategy for continuous monitoring of security control effectivenes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then documents the results of selecting the security controls in the SSP via the OBMS.</a:t>
            </a:r>
          </a:p>
          <a:p>
            <a:pPr marL="285750" indent="-285750" eaLnBrk="0" hangingPunct="0">
              <a:lnSpc>
                <a:spcPct val="106000"/>
              </a:lnSpc>
              <a:buFont typeface="Wingdings" panose="05000000000000000000" pitchFamily="2" charset="2"/>
              <a:buChar char="ü"/>
            </a:pPr>
            <a:r>
              <a:rPr lang="en-US" sz="1200" dirty="0">
                <a:solidFill>
                  <a:srgbClr val="000000"/>
                </a:solidFill>
              </a:rPr>
              <a:t>The assigned ISSP/SCA reviews the SSP to ensure it meets the necessary security requirements and effectively identifies potential risks to the IS. The ISSP/SCA also reviews the </a:t>
            </a:r>
            <a:r>
              <a:rPr lang="en-US" sz="1200" dirty="0" smtClean="0">
                <a:solidFill>
                  <a:srgbClr val="000000"/>
                </a:solidFill>
              </a:rPr>
              <a:t>ISSM-recommended </a:t>
            </a:r>
            <a:r>
              <a:rPr lang="en-US" sz="1200" dirty="0">
                <a:solidFill>
                  <a:srgbClr val="000000"/>
                </a:solidFill>
              </a:rPr>
              <a:t>deltas from the standard baseline. </a:t>
            </a:r>
          </a:p>
          <a:p>
            <a:pPr marL="285750" indent="-285750" eaLnBrk="0" hangingPunct="0">
              <a:lnSpc>
                <a:spcPct val="106000"/>
              </a:lnSpc>
              <a:buFont typeface="Wingdings" panose="05000000000000000000" pitchFamily="2" charset="2"/>
              <a:buChar char="ü"/>
            </a:pPr>
            <a:r>
              <a:rPr lang="en-US" sz="1200" dirty="0">
                <a:solidFill>
                  <a:srgbClr val="000000"/>
                </a:solidFill>
              </a:rPr>
              <a:t>The ISSP/SCA then notifies the ISSM of concurrence with selected security controls.  </a:t>
            </a: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a:solidFill>
                  <a:srgbClr val="000000"/>
                </a:solidFill>
              </a:rPr>
              <a:t>Outcome: </a:t>
            </a:r>
            <a:r>
              <a:rPr lang="en-US" sz="1200" dirty="0" smtClean="0">
                <a:solidFill>
                  <a:srgbClr val="000000"/>
                </a:solidFill>
              </a:rPr>
              <a:t>Agreed upon security control set.</a:t>
            </a:r>
            <a:endParaRPr lang="en-US" sz="1200" b="1" dirty="0">
              <a:solidFill>
                <a:srgbClr val="000000"/>
              </a:solidFill>
            </a:endParaRPr>
          </a:p>
          <a:p>
            <a:pPr marL="171450" indent="-171450" eaLnBrk="0" hangingPunct="0">
              <a:lnSpc>
                <a:spcPct val="106000"/>
              </a:lnSpc>
              <a:buFont typeface="Arial" panose="020B0604020202020204" pitchFamily="34" charset="0"/>
              <a:buChar char="•"/>
            </a:pPr>
            <a:r>
              <a:rPr lang="en-US" sz="1200" b="1" dirty="0">
                <a:solidFill>
                  <a:srgbClr val="000000"/>
                </a:solidFill>
              </a:rPr>
              <a:t>Artifact(s): </a:t>
            </a:r>
            <a:r>
              <a:rPr lang="en-US" sz="1200" dirty="0" smtClean="0">
                <a:solidFill>
                  <a:srgbClr val="000000"/>
                </a:solidFill>
              </a:rPr>
              <a:t>Continuous monitoring strategy and updated SSP with controls identified.</a:t>
            </a:r>
            <a:r>
              <a:rPr lang="en-US" sz="1200" dirty="0" smtClean="0">
                <a:solidFill>
                  <a:srgbClr val="000000"/>
                </a:solidFill>
                <a:hlinkClick r:id="rId8" action="ppaction://hlinkfile"/>
              </a:rPr>
              <a:t> </a:t>
            </a:r>
            <a:endParaRPr lang="en-US" sz="1200" b="1" dirty="0">
              <a:solidFill>
                <a:srgbClr val="000000"/>
              </a:solidFill>
            </a:endParaRPr>
          </a:p>
        </p:txBody>
      </p:sp>
      <p:sp>
        <p:nvSpPr>
          <p:cNvPr id="8" name="Rectangle 7"/>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20492103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t>Security Controls - Overlays</a:t>
            </a:r>
            <a:endParaRPr lang="en-US" dirty="0"/>
          </a:p>
        </p:txBody>
      </p:sp>
      <p:pic>
        <p:nvPicPr>
          <p:cNvPr id="688130" name="Picture 2" descr="C:\Users\Dorothy.Hartsfield\AppData\Local\Microsoft\Windows\Temporary Internet Files\Content.Outlook\W6QOL24Y\Overlay 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40" y="1071233"/>
            <a:ext cx="7909559" cy="5247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00857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t>SSP Controls</a:t>
            </a:r>
            <a:endParaRPr lang="en-US" dirty="0"/>
          </a:p>
        </p:txBody>
      </p:sp>
      <p:pic>
        <p:nvPicPr>
          <p:cNvPr id="689154" name="Picture 2" descr="C:\Users\Dorothy.Hartsfield\AppData\Local\Microsoft\Windows\Temporary Internet Files\Content.Outlook\W6QOL24Y\SSP Control 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064548"/>
            <a:ext cx="7604760" cy="5338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224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7" name="Diagram 6"/>
          <p:cNvGraphicFramePr/>
          <p:nvPr>
            <p:extLst>
              <p:ext uri="{D42A27DB-BD31-4B8C-83A1-F6EECF244321}">
                <p14:modId xmlns:p14="http://schemas.microsoft.com/office/powerpoint/2010/main" val="1497932044"/>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11" name="TextBox 10"/>
          <p:cNvSpPr txBox="1"/>
          <p:nvPr/>
        </p:nvSpPr>
        <p:spPr>
          <a:xfrm>
            <a:off x="326439" y="981009"/>
            <a:ext cx="8549858" cy="1658403"/>
          </a:xfrm>
          <a:prstGeom prst="rect">
            <a:avLst/>
          </a:prstGeom>
        </p:spPr>
        <p:txBody>
          <a:bodyPr wrap="square" rtlCol="0">
            <a:spAutoFit/>
          </a:bodyPr>
          <a:lstStyle/>
          <a:p>
            <a:pPr eaLnBrk="0" hangingPunct="0">
              <a:lnSpc>
                <a:spcPct val="106000"/>
              </a:lnSpc>
            </a:pPr>
            <a:r>
              <a:rPr lang="en-US" sz="1200" b="1" dirty="0">
                <a:solidFill>
                  <a:srgbClr val="000000"/>
                </a:solidFill>
              </a:rPr>
              <a:t>Step 3: Implement Security Control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and ISSO implement security controls for the IS and may conduct an initial assessment to facilitate early identification of weaknesses and deficiencie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then documents the security control implementation in the Security Controls Traceability Matrix (SCTM) portion of the SSP via the OBMS.</a:t>
            </a: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a:solidFill>
                  <a:srgbClr val="000000"/>
                </a:solidFill>
              </a:rPr>
              <a:t>Outcome: </a:t>
            </a:r>
            <a:r>
              <a:rPr lang="en-US" sz="1200" dirty="0" smtClean="0">
                <a:solidFill>
                  <a:srgbClr val="000000"/>
                </a:solidFill>
              </a:rPr>
              <a:t>Implemented security requirements.</a:t>
            </a:r>
            <a:endParaRPr lang="en-US" sz="1200" b="1" dirty="0">
              <a:solidFill>
                <a:srgbClr val="000000"/>
              </a:solidFill>
            </a:endParaRPr>
          </a:p>
          <a:p>
            <a:pPr marL="171450" indent="-171450" eaLnBrk="0" hangingPunct="0">
              <a:lnSpc>
                <a:spcPct val="106000"/>
              </a:lnSpc>
              <a:buFont typeface="Arial" panose="020B0604020202020204" pitchFamily="34" charset="0"/>
              <a:buChar char="•"/>
            </a:pPr>
            <a:r>
              <a:rPr lang="en-US" sz="1200" b="1" dirty="0">
                <a:solidFill>
                  <a:srgbClr val="000000"/>
                </a:solidFill>
              </a:rPr>
              <a:t>Artifact(s): </a:t>
            </a:r>
            <a:r>
              <a:rPr lang="en-US" sz="1200" dirty="0" smtClean="0">
                <a:solidFill>
                  <a:srgbClr val="000000"/>
                </a:solidFill>
              </a:rPr>
              <a:t>Updated SSP with a functional description of security control implementation. </a:t>
            </a:r>
            <a:endParaRPr lang="en-US" sz="1200" b="1" dirty="0">
              <a:solidFill>
                <a:srgbClr val="000000"/>
              </a:solidFill>
            </a:endParaRPr>
          </a:p>
        </p:txBody>
      </p:sp>
      <p:sp>
        <p:nvSpPr>
          <p:cNvPr id="12" name="Rectangle 11"/>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3339145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7" name="Diagram 6"/>
          <p:cNvGraphicFramePr/>
          <p:nvPr>
            <p:extLst>
              <p:ext uri="{D42A27DB-BD31-4B8C-83A1-F6EECF244321}">
                <p14:modId xmlns:p14="http://schemas.microsoft.com/office/powerpoint/2010/main" val="2679504730"/>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10" name="TextBox 9"/>
          <p:cNvSpPr txBox="1"/>
          <p:nvPr/>
        </p:nvSpPr>
        <p:spPr>
          <a:xfrm>
            <a:off x="326439" y="981009"/>
            <a:ext cx="8549858" cy="2049920"/>
          </a:xfrm>
          <a:prstGeom prst="rect">
            <a:avLst/>
          </a:prstGeom>
        </p:spPr>
        <p:txBody>
          <a:bodyPr wrap="square" rtlCol="0">
            <a:spAutoFit/>
          </a:bodyPr>
          <a:lstStyle/>
          <a:p>
            <a:pPr eaLnBrk="0" hangingPunct="0">
              <a:lnSpc>
                <a:spcPct val="106000"/>
              </a:lnSpc>
            </a:pPr>
            <a:r>
              <a:rPr lang="en-US" sz="1200" b="1" dirty="0">
                <a:solidFill>
                  <a:srgbClr val="000000"/>
                </a:solidFill>
              </a:rPr>
              <a:t>Step 4: Assess Security Controls - </a:t>
            </a:r>
            <a:r>
              <a:rPr lang="en-US" sz="1200" b="1" i="1" dirty="0">
                <a:solidFill>
                  <a:srgbClr val="000000"/>
                </a:solidFill>
              </a:rPr>
              <a:t>Part One</a:t>
            </a:r>
            <a:endParaRPr lang="en-US" sz="1200" b="1" dirty="0">
              <a:solidFill>
                <a:srgbClr val="000000"/>
              </a:solidFill>
            </a:endParaRPr>
          </a:p>
          <a:p>
            <a:pPr marL="285750" indent="-285750" eaLnBrk="0" hangingPunct="0">
              <a:lnSpc>
                <a:spcPct val="106000"/>
              </a:lnSpc>
              <a:buFont typeface="Wingdings" panose="05000000000000000000" pitchFamily="2" charset="2"/>
              <a:buChar char="ü"/>
            </a:pPr>
            <a:r>
              <a:rPr lang="en-US" sz="1200" dirty="0">
                <a:solidFill>
                  <a:srgbClr val="000000"/>
                </a:solidFill>
              </a:rPr>
              <a:t>The ISSM, with the ISSO, develops a Security Assessment Plan (SAP) that addresses objectives for the assessment, methods for verifying security control compliance, the schedule for the initial control assessment, and actual assessment procedures. </a:t>
            </a:r>
            <a:r>
              <a:rPr lang="en-US" sz="1200" i="1" dirty="0">
                <a:solidFill>
                  <a:srgbClr val="000000"/>
                </a:solidFill>
              </a:rPr>
              <a:t>(Cleared Industry can leverage assessment procedures in the DAAPM).</a:t>
            </a:r>
          </a:p>
          <a:p>
            <a:pPr marL="285750" indent="-285750" eaLnBrk="0" hangingPunct="0">
              <a:lnSpc>
                <a:spcPct val="106000"/>
              </a:lnSpc>
              <a:buFont typeface="Wingdings" panose="05000000000000000000" pitchFamily="2" charset="2"/>
              <a:buChar char="ü"/>
            </a:pPr>
            <a:r>
              <a:rPr lang="en-US" sz="1200" dirty="0">
                <a:solidFill>
                  <a:srgbClr val="000000"/>
                </a:solidFill>
              </a:rPr>
              <a:t>The ISSM then conducts the initial assessment of the effectiveness of the security </a:t>
            </a:r>
            <a:r>
              <a:rPr lang="en-US" sz="1200" dirty="0" smtClean="0">
                <a:solidFill>
                  <a:srgbClr val="000000"/>
                </a:solidFill>
              </a:rPr>
              <a:t>controls </a:t>
            </a:r>
            <a:r>
              <a:rPr lang="en-US" sz="1200" dirty="0">
                <a:solidFill>
                  <a:srgbClr val="000000"/>
                </a:solidFill>
              </a:rPr>
              <a:t>and documents the issues, findings, and recommendations in a Security Assessment Report (SAR).</a:t>
            </a:r>
          </a:p>
          <a:p>
            <a:pPr marL="285750" indent="-285750" eaLnBrk="0" hangingPunct="0">
              <a:lnSpc>
                <a:spcPct val="106000"/>
              </a:lnSpc>
              <a:buFont typeface="Wingdings" panose="05000000000000000000" pitchFamily="2" charset="2"/>
              <a:buChar char="ü"/>
            </a:pPr>
            <a:r>
              <a:rPr lang="en-US" sz="1200" dirty="0">
                <a:solidFill>
                  <a:srgbClr val="000000"/>
                </a:solidFill>
              </a:rPr>
              <a:t>The ISSM, after the initial assessment, conducts remediation actions based on the findings and recommendations in the Plan of Action and Milestones (POA&amp;M), signs a Certification Statement, and submits the SSP (using the OBMS) to DSS</a:t>
            </a:r>
            <a:r>
              <a:rPr lang="en-US" sz="1200" dirty="0" smtClean="0">
                <a:solidFill>
                  <a:srgbClr val="000000"/>
                </a:solidFill>
              </a:rPr>
              <a:t>.</a:t>
            </a:r>
          </a:p>
          <a:p>
            <a:pPr eaLnBrk="0" hangingPunct="0">
              <a:lnSpc>
                <a:spcPct val="106000"/>
              </a:lnSpc>
            </a:pPr>
            <a:endParaRPr lang="en-US" sz="1200" dirty="0">
              <a:solidFill>
                <a:srgbClr val="000000"/>
              </a:solidFill>
            </a:endParaRPr>
          </a:p>
        </p:txBody>
      </p:sp>
      <p:sp>
        <p:nvSpPr>
          <p:cNvPr id="11" name="Rectangle 10"/>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3823779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9" name="Diagram 8"/>
          <p:cNvGraphicFramePr/>
          <p:nvPr>
            <p:extLst>
              <p:ext uri="{D42A27DB-BD31-4B8C-83A1-F6EECF244321}">
                <p14:modId xmlns:p14="http://schemas.microsoft.com/office/powerpoint/2010/main" val="2674247063"/>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8" name="TextBox 7"/>
          <p:cNvSpPr txBox="1"/>
          <p:nvPr/>
        </p:nvSpPr>
        <p:spPr>
          <a:xfrm>
            <a:off x="326439" y="981009"/>
            <a:ext cx="8549858" cy="1854162"/>
          </a:xfrm>
          <a:prstGeom prst="rect">
            <a:avLst/>
          </a:prstGeom>
        </p:spPr>
        <p:txBody>
          <a:bodyPr wrap="square" rtlCol="0">
            <a:spAutoFit/>
          </a:bodyPr>
          <a:lstStyle/>
          <a:p>
            <a:pPr eaLnBrk="0" hangingPunct="0">
              <a:lnSpc>
                <a:spcPct val="106000"/>
              </a:lnSpc>
            </a:pPr>
            <a:r>
              <a:rPr lang="en-US" sz="1200" b="1" dirty="0">
                <a:solidFill>
                  <a:srgbClr val="000000"/>
                </a:solidFill>
              </a:rPr>
              <a:t>Step 4: Assess Security Controls - </a:t>
            </a:r>
            <a:r>
              <a:rPr lang="en-US" sz="1200" b="1" i="1" dirty="0">
                <a:solidFill>
                  <a:srgbClr val="000000"/>
                </a:solidFill>
              </a:rPr>
              <a:t>Part Two</a:t>
            </a:r>
            <a:endParaRPr lang="en-US" sz="1200" b="1" dirty="0">
              <a:solidFill>
                <a:srgbClr val="000000"/>
              </a:solidFill>
            </a:endParaRPr>
          </a:p>
          <a:p>
            <a:pPr marL="285750" indent="-285750" eaLnBrk="0" hangingPunct="0">
              <a:lnSpc>
                <a:spcPct val="106000"/>
              </a:lnSpc>
              <a:buFont typeface="Wingdings" panose="05000000000000000000" pitchFamily="2" charset="2"/>
              <a:buChar char="ü"/>
            </a:pPr>
            <a:r>
              <a:rPr lang="en-US" sz="1200" dirty="0">
                <a:solidFill>
                  <a:srgbClr val="000000"/>
                </a:solidFill>
              </a:rPr>
              <a:t>The ISSP/SCA receives the SSP, performs an SSP review, and conducts an on-site validation/assessment.</a:t>
            </a:r>
          </a:p>
          <a:p>
            <a:pPr marL="285750" indent="-285750" eaLnBrk="0" hangingPunct="0">
              <a:lnSpc>
                <a:spcPct val="106000"/>
              </a:lnSpc>
              <a:buFont typeface="Wingdings" panose="05000000000000000000" pitchFamily="2" charset="2"/>
              <a:buChar char="ü"/>
            </a:pPr>
            <a:r>
              <a:rPr lang="en-US" sz="1200" dirty="0">
                <a:solidFill>
                  <a:srgbClr val="000000"/>
                </a:solidFill>
              </a:rPr>
              <a:t>The ISSP/SCA informs the ISSM of any additional deficiencies or weaknesses discovered and identifies necessary remediation actions in a POA&amp;M.</a:t>
            </a:r>
          </a:p>
          <a:p>
            <a:pPr marL="285750" indent="-285750" eaLnBrk="0" hangingPunct="0">
              <a:lnSpc>
                <a:spcPct val="106000"/>
              </a:lnSpc>
              <a:buFont typeface="Wingdings" panose="05000000000000000000" pitchFamily="2" charset="2"/>
              <a:buChar char="ü"/>
            </a:pPr>
            <a:r>
              <a:rPr lang="en-US" sz="1200" dirty="0">
                <a:solidFill>
                  <a:srgbClr val="000000"/>
                </a:solidFill>
              </a:rPr>
              <a:t>The ISSP/SCA schedules a revalidation visit if necessary and makes final updates to the SAR.</a:t>
            </a: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a:solidFill>
                  <a:srgbClr val="000000"/>
                </a:solidFill>
              </a:rPr>
              <a:t>Outcome: </a:t>
            </a:r>
            <a:r>
              <a:rPr lang="en-US" sz="1200" dirty="0" smtClean="0">
                <a:solidFill>
                  <a:srgbClr val="000000"/>
                </a:solidFill>
              </a:rPr>
              <a:t>Tested, evaluated, and remediated security controls. </a:t>
            </a:r>
            <a:endParaRPr lang="en-US" sz="1200" b="1" dirty="0">
              <a:solidFill>
                <a:srgbClr val="000000"/>
              </a:solidFill>
            </a:endParaRPr>
          </a:p>
          <a:p>
            <a:pPr marL="171450" indent="-171450" eaLnBrk="0" hangingPunct="0">
              <a:lnSpc>
                <a:spcPct val="106000"/>
              </a:lnSpc>
              <a:buFont typeface="Arial" panose="020B0604020202020204" pitchFamily="34" charset="0"/>
              <a:buChar char="•"/>
            </a:pPr>
            <a:r>
              <a:rPr lang="en-US" sz="1200" b="1" dirty="0">
                <a:solidFill>
                  <a:srgbClr val="000000"/>
                </a:solidFill>
              </a:rPr>
              <a:t>Artifact(s): </a:t>
            </a:r>
            <a:r>
              <a:rPr lang="en-US" sz="1200" dirty="0" smtClean="0">
                <a:solidFill>
                  <a:srgbClr val="000000"/>
                </a:solidFill>
              </a:rPr>
              <a:t> SAR, and final SSP. </a:t>
            </a:r>
          </a:p>
          <a:p>
            <a:pPr eaLnBrk="0" hangingPunct="0">
              <a:lnSpc>
                <a:spcPct val="106000"/>
              </a:lnSpc>
            </a:pPr>
            <a:r>
              <a:rPr lang="en-US" sz="1200" b="1" dirty="0" smtClean="0">
                <a:solidFill>
                  <a:srgbClr val="000000"/>
                </a:solidFill>
              </a:rPr>
              <a:t>Additional guidance for assessing controls:  NIST SP 800-53A</a:t>
            </a:r>
            <a:endParaRPr lang="en-US" sz="1200" b="1" dirty="0">
              <a:solidFill>
                <a:srgbClr val="000000"/>
              </a:solidFill>
            </a:endParaRPr>
          </a:p>
        </p:txBody>
      </p:sp>
      <p:sp>
        <p:nvSpPr>
          <p:cNvPr id="11" name="Rectangle 10"/>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2542677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9" name="Diagram 8"/>
          <p:cNvGraphicFramePr/>
          <p:nvPr>
            <p:extLst>
              <p:ext uri="{D42A27DB-BD31-4B8C-83A1-F6EECF244321}">
                <p14:modId xmlns:p14="http://schemas.microsoft.com/office/powerpoint/2010/main" val="688054229"/>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8" name="TextBox 7"/>
          <p:cNvSpPr txBox="1"/>
          <p:nvPr/>
        </p:nvSpPr>
        <p:spPr>
          <a:xfrm>
            <a:off x="326439" y="981009"/>
            <a:ext cx="8549858" cy="2049920"/>
          </a:xfrm>
          <a:prstGeom prst="rect">
            <a:avLst/>
          </a:prstGeom>
        </p:spPr>
        <p:txBody>
          <a:bodyPr wrap="square" rtlCol="0">
            <a:spAutoFit/>
          </a:bodyPr>
          <a:lstStyle/>
          <a:p>
            <a:pPr eaLnBrk="0" hangingPunct="0">
              <a:lnSpc>
                <a:spcPct val="106000"/>
              </a:lnSpc>
            </a:pPr>
            <a:r>
              <a:rPr lang="en-US" sz="1200" b="1" dirty="0">
                <a:solidFill>
                  <a:srgbClr val="000000"/>
                </a:solidFill>
              </a:rPr>
              <a:t>Step 5: Authorize the </a:t>
            </a:r>
            <a:r>
              <a:rPr lang="en-US" sz="1200" b="1" dirty="0" smtClean="0">
                <a:solidFill>
                  <a:srgbClr val="000000"/>
                </a:solidFill>
              </a:rPr>
              <a:t>IS</a:t>
            </a:r>
            <a:endParaRPr lang="en-US" sz="1200" b="1" dirty="0">
              <a:solidFill>
                <a:srgbClr val="000000"/>
              </a:solidFill>
            </a:endParaRPr>
          </a:p>
          <a:p>
            <a:pPr marL="285750" indent="-285750" eaLnBrk="0" hangingPunct="0">
              <a:lnSpc>
                <a:spcPct val="106000"/>
              </a:lnSpc>
              <a:buFont typeface="Wingdings" panose="05000000000000000000" pitchFamily="2" charset="2"/>
              <a:buChar char="ü"/>
            </a:pPr>
            <a:r>
              <a:rPr lang="en-US" sz="1200" dirty="0">
                <a:solidFill>
                  <a:srgbClr val="000000"/>
                </a:solidFill>
              </a:rPr>
              <a:t>The ISSP/SCA reviews and submits the security authorization package to the </a:t>
            </a:r>
            <a:r>
              <a:rPr lang="en-US" sz="1200" dirty="0" smtClean="0">
                <a:solidFill>
                  <a:srgbClr val="000000"/>
                </a:solidFill>
              </a:rPr>
              <a:t>DAO</a:t>
            </a:r>
            <a:r>
              <a:rPr lang="en-US" sz="1200" dirty="0">
                <a:solidFill>
                  <a:srgbClr val="000000"/>
                </a:solidFill>
              </a:rPr>
              <a:t>.</a:t>
            </a:r>
          </a:p>
          <a:p>
            <a:pPr marL="285750" indent="-285750" eaLnBrk="0" hangingPunct="0">
              <a:lnSpc>
                <a:spcPct val="106000"/>
              </a:lnSpc>
              <a:buFont typeface="Wingdings" panose="05000000000000000000" pitchFamily="2" charset="2"/>
              <a:buChar char="ü"/>
            </a:pPr>
            <a:r>
              <a:rPr lang="en-US" sz="1200" dirty="0">
                <a:solidFill>
                  <a:srgbClr val="000000"/>
                </a:solidFill>
              </a:rPr>
              <a:t>The </a:t>
            </a:r>
            <a:r>
              <a:rPr lang="en-US" sz="1200" dirty="0" smtClean="0">
                <a:solidFill>
                  <a:srgbClr val="000000"/>
                </a:solidFill>
              </a:rPr>
              <a:t>DAO </a:t>
            </a:r>
            <a:r>
              <a:rPr lang="en-US" sz="1200" dirty="0">
                <a:solidFill>
                  <a:srgbClr val="000000"/>
                </a:solidFill>
              </a:rPr>
              <a:t>assesses the security authorization package and issues an authorization decision for the IS—either Authorization to Operate (ATO) or Denied Authorization to Operate (DATO)—which includes any terms and conditions of operation as well as the authorization termination date (ATD).</a:t>
            </a: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a:solidFill>
                  <a:srgbClr val="000000"/>
                </a:solidFill>
              </a:rPr>
              <a:t>Outcome: </a:t>
            </a:r>
            <a:r>
              <a:rPr lang="en-US" sz="1200" dirty="0" smtClean="0">
                <a:solidFill>
                  <a:srgbClr val="000000"/>
                </a:solidFill>
              </a:rPr>
              <a:t>Risk determination and acceptance decision by the DAO. </a:t>
            </a:r>
            <a:endParaRPr lang="en-US" sz="1200" b="1" dirty="0">
              <a:solidFill>
                <a:srgbClr val="000000"/>
              </a:solidFill>
            </a:endParaRPr>
          </a:p>
          <a:p>
            <a:pPr marL="171450" indent="-171450" eaLnBrk="0" hangingPunct="0">
              <a:lnSpc>
                <a:spcPct val="106000"/>
              </a:lnSpc>
              <a:buFont typeface="Arial" panose="020B0604020202020204" pitchFamily="34" charset="0"/>
              <a:buChar char="•"/>
            </a:pPr>
            <a:r>
              <a:rPr lang="en-US" sz="1200" b="1" dirty="0">
                <a:solidFill>
                  <a:srgbClr val="000000"/>
                </a:solidFill>
              </a:rPr>
              <a:t>Artifact(s): </a:t>
            </a:r>
            <a:r>
              <a:rPr lang="en-US" sz="1200" dirty="0" smtClean="0">
                <a:solidFill>
                  <a:srgbClr val="000000"/>
                </a:solidFill>
              </a:rPr>
              <a:t>Complete security authorization determination to include the POA&amp;M.</a:t>
            </a:r>
          </a:p>
          <a:p>
            <a:pPr marL="171450" indent="-171450" eaLnBrk="0" hangingPunct="0">
              <a:lnSpc>
                <a:spcPct val="106000"/>
              </a:lnSpc>
              <a:buFont typeface="Arial" panose="020B0604020202020204" pitchFamily="34" charset="0"/>
              <a:buChar char="•"/>
            </a:pPr>
            <a:endParaRPr lang="en-US" sz="1200" dirty="0">
              <a:solidFill>
                <a:srgbClr val="000000"/>
              </a:solidFill>
            </a:endParaRPr>
          </a:p>
          <a:p>
            <a:pPr eaLnBrk="0" hangingPunct="0">
              <a:lnSpc>
                <a:spcPct val="106000"/>
              </a:lnSpc>
            </a:pPr>
            <a:r>
              <a:rPr lang="en-US" sz="1200" dirty="0" smtClean="0">
                <a:solidFill>
                  <a:srgbClr val="000000"/>
                </a:solidFill>
              </a:rPr>
              <a:t> </a:t>
            </a:r>
            <a:endParaRPr lang="en-US" sz="1200" b="1" dirty="0">
              <a:solidFill>
                <a:srgbClr val="000000"/>
              </a:solidFill>
            </a:endParaRPr>
          </a:p>
        </p:txBody>
      </p:sp>
      <p:sp>
        <p:nvSpPr>
          <p:cNvPr id="11" name="Rectangle 10"/>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7344161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09424"/>
            <a:ext cx="6440951" cy="363689"/>
          </a:xfrm>
        </p:spPr>
        <p:txBody>
          <a:bodyPr/>
          <a:lstStyle/>
          <a:p>
            <a:r>
              <a:rPr lang="en-US" dirty="0" smtClean="0"/>
              <a:t>What is Risk Management Framework (RMF)</a:t>
            </a:r>
            <a:endParaRPr lang="en-US" dirty="0"/>
          </a:p>
        </p:txBody>
      </p:sp>
      <p:sp>
        <p:nvSpPr>
          <p:cNvPr id="5" name="Rectangle 4"/>
          <p:cNvSpPr/>
          <p:nvPr/>
        </p:nvSpPr>
        <p:spPr>
          <a:xfrm>
            <a:off x="980660" y="1839123"/>
            <a:ext cx="7540487" cy="4413516"/>
          </a:xfrm>
          <a:prstGeom prst="rect">
            <a:avLst/>
          </a:prstGeom>
        </p:spPr>
        <p:txBody>
          <a:bodyPr wrap="square">
            <a:spAutoFit/>
          </a:bodyPr>
          <a:lstStyle/>
          <a:p>
            <a:pPr>
              <a:lnSpc>
                <a:spcPct val="90000"/>
              </a:lnSpc>
            </a:pPr>
            <a:endParaRPr lang="en-US" altLang="en-US" sz="2400" dirty="0"/>
          </a:p>
          <a:p>
            <a:pPr marL="342900" indent="-342900">
              <a:lnSpc>
                <a:spcPct val="90000"/>
              </a:lnSpc>
              <a:buFont typeface="Arial" panose="020B0604020202020204" pitchFamily="34" charset="0"/>
              <a:buChar char="•"/>
            </a:pPr>
            <a:r>
              <a:rPr lang="en-US" altLang="en-US" sz="2400" dirty="0"/>
              <a:t>It is a unified information security framework for the entire federal government that replaces legacy Certification and Accreditation (C&amp;A) Processes applied to information </a:t>
            </a:r>
            <a:r>
              <a:rPr lang="en-US" altLang="en-US" sz="2400" dirty="0" smtClean="0"/>
              <a:t>systems</a:t>
            </a:r>
            <a:br>
              <a:rPr lang="en-US" altLang="en-US" sz="2400" dirty="0" smtClean="0"/>
            </a:br>
            <a:endParaRPr lang="en-US" altLang="en-US" sz="2400" dirty="0" smtClean="0"/>
          </a:p>
          <a:p>
            <a:pPr marL="342900" indent="-342900">
              <a:lnSpc>
                <a:spcPct val="90000"/>
              </a:lnSpc>
              <a:buFont typeface="Arial" panose="020B0604020202020204" pitchFamily="34" charset="0"/>
              <a:buChar char="•"/>
            </a:pPr>
            <a:r>
              <a:rPr lang="en-US" altLang="en-US" sz="2400" dirty="0" smtClean="0"/>
              <a:t>RMF </a:t>
            </a:r>
            <a:r>
              <a:rPr lang="en-US" altLang="en-US" sz="2400" dirty="0"/>
              <a:t>is a key component of an organization’s information security program used in the overall management of organizational risk</a:t>
            </a:r>
          </a:p>
          <a:p>
            <a:pPr>
              <a:lnSpc>
                <a:spcPct val="90000"/>
              </a:lnSpc>
            </a:pPr>
            <a:r>
              <a:rPr lang="en-US" altLang="en-US" sz="2400" dirty="0" smtClean="0"/>
              <a:t/>
            </a:r>
            <a:br>
              <a:rPr lang="en-US" altLang="en-US" sz="2400" dirty="0" smtClean="0"/>
            </a:br>
            <a:endParaRPr lang="en-US" altLang="en-US" sz="2400" dirty="0" smtClean="0"/>
          </a:p>
          <a:p>
            <a:pPr marL="342900" indent="-342900">
              <a:lnSpc>
                <a:spcPct val="90000"/>
              </a:lnSpc>
              <a:buFont typeface="Arial" panose="020B0604020202020204" pitchFamily="34" charset="0"/>
              <a:buChar char="•"/>
            </a:pPr>
            <a:endParaRPr lang="en-US" altLang="en-US" sz="2400" dirty="0" smtClean="0"/>
          </a:p>
          <a:p>
            <a:pPr marL="342900" indent="-342900">
              <a:lnSpc>
                <a:spcPct val="90000"/>
              </a:lnSpc>
              <a:buFont typeface="Arial" panose="020B0604020202020204" pitchFamily="34" charset="0"/>
              <a:buChar char="•"/>
            </a:pPr>
            <a:endParaRPr lang="en-US" altLang="en-US" sz="2400" dirty="0"/>
          </a:p>
        </p:txBody>
      </p:sp>
    </p:spTree>
    <p:extLst>
      <p:ext uri="{BB962C8B-B14F-4D97-AF65-F5344CB8AC3E}">
        <p14:creationId xmlns:p14="http://schemas.microsoft.com/office/powerpoint/2010/main" val="36286961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a:t>RMF Process Walk Through</a:t>
            </a:r>
          </a:p>
        </p:txBody>
      </p:sp>
      <p:graphicFrame>
        <p:nvGraphicFramePr>
          <p:cNvPr id="7" name="Diagram 6"/>
          <p:cNvGraphicFramePr/>
          <p:nvPr>
            <p:extLst>
              <p:ext uri="{D42A27DB-BD31-4B8C-83A1-F6EECF244321}">
                <p14:modId xmlns:p14="http://schemas.microsoft.com/office/powerpoint/2010/main" val="732146337"/>
              </p:ext>
            </p:extLst>
          </p:nvPr>
        </p:nvGraphicFramePr>
        <p:xfrm>
          <a:off x="2156618" y="3833656"/>
          <a:ext cx="4889501" cy="2942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706018" y="5030261"/>
            <a:ext cx="1790700" cy="549125"/>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400" b="1" kern="1200" dirty="0" smtClean="0">
                <a:solidFill>
                  <a:srgbClr val="000000"/>
                </a:solidFill>
                <a:latin typeface="Arial"/>
                <a:ea typeface="+mn-ea"/>
                <a:cs typeface="Arial" charset="0"/>
              </a:rPr>
              <a:t>Risk Management Framework</a:t>
            </a:r>
            <a:endParaRPr lang="en-US" sz="1400" b="1" kern="1200" dirty="0">
              <a:solidFill>
                <a:srgbClr val="000000"/>
              </a:solidFill>
              <a:latin typeface="Arial"/>
              <a:ea typeface="+mn-ea"/>
              <a:cs typeface="Arial" charset="0"/>
            </a:endParaRPr>
          </a:p>
        </p:txBody>
      </p:sp>
      <p:sp>
        <p:nvSpPr>
          <p:cNvPr id="9" name="TextBox 8"/>
          <p:cNvSpPr txBox="1"/>
          <p:nvPr/>
        </p:nvSpPr>
        <p:spPr>
          <a:xfrm>
            <a:off x="326439" y="981009"/>
            <a:ext cx="8549858" cy="2819105"/>
          </a:xfrm>
          <a:prstGeom prst="rect">
            <a:avLst/>
          </a:prstGeom>
        </p:spPr>
        <p:txBody>
          <a:bodyPr wrap="square" rtlCol="0">
            <a:spAutoFit/>
          </a:bodyPr>
          <a:lstStyle/>
          <a:p>
            <a:pPr eaLnBrk="0" hangingPunct="0">
              <a:lnSpc>
                <a:spcPct val="106000"/>
              </a:lnSpc>
            </a:pPr>
            <a:r>
              <a:rPr lang="en-US" sz="1200" b="1" dirty="0">
                <a:solidFill>
                  <a:srgbClr val="000000"/>
                </a:solidFill>
              </a:rPr>
              <a:t>Step 6: Monitor the </a:t>
            </a:r>
            <a:r>
              <a:rPr lang="en-US" sz="1200" b="1" dirty="0" smtClean="0">
                <a:solidFill>
                  <a:srgbClr val="000000"/>
                </a:solidFill>
              </a:rPr>
              <a:t>IS</a:t>
            </a:r>
            <a:endParaRPr lang="en-US" sz="1200" b="1" dirty="0">
              <a:solidFill>
                <a:srgbClr val="000000"/>
              </a:solidFill>
            </a:endParaRPr>
          </a:p>
          <a:p>
            <a:pPr marL="285750" indent="-285750" eaLnBrk="0" hangingPunct="0">
              <a:lnSpc>
                <a:spcPct val="106000"/>
              </a:lnSpc>
              <a:buFont typeface="Wingdings" panose="05000000000000000000" pitchFamily="2" charset="2"/>
              <a:buChar char="ü"/>
            </a:pPr>
            <a:r>
              <a:rPr lang="en-US" sz="1200" dirty="0">
                <a:solidFill>
                  <a:srgbClr val="000000"/>
                </a:solidFill>
              </a:rPr>
              <a:t>The ISSM determines the security impact of proposed or actual changes to the IS and its operating environment and informs the ISSP/SCA as necessary.</a:t>
            </a:r>
          </a:p>
          <a:p>
            <a:pPr marL="285750" indent="-285750" eaLnBrk="0" hangingPunct="0">
              <a:lnSpc>
                <a:spcPct val="106000"/>
              </a:lnSpc>
              <a:buFont typeface="Wingdings" panose="05000000000000000000" pitchFamily="2" charset="2"/>
              <a:buChar char="ü"/>
            </a:pPr>
            <a:r>
              <a:rPr lang="en-US" sz="1200" dirty="0">
                <a:solidFill>
                  <a:srgbClr val="000000"/>
                </a:solidFill>
              </a:rPr>
              <a:t>The ISSM assesses a selected subset of the security controls, based on the approved continuous monitoring strategy, and informs the ISSP/SCA of the results.</a:t>
            </a:r>
          </a:p>
          <a:p>
            <a:pPr marL="285750" indent="-285750" eaLnBrk="0" hangingPunct="0">
              <a:lnSpc>
                <a:spcPct val="106000"/>
              </a:lnSpc>
              <a:buFont typeface="Wingdings" panose="05000000000000000000" pitchFamily="2" charset="2"/>
              <a:buChar char="ü"/>
            </a:pPr>
            <a:r>
              <a:rPr lang="en-US" sz="1200" dirty="0">
                <a:solidFill>
                  <a:srgbClr val="000000"/>
                </a:solidFill>
              </a:rPr>
              <a:t>The ISSM updates SSP documentation and works to satisfy POA&amp;M requirements,</a:t>
            </a:r>
            <a:r>
              <a:rPr lang="en-US" sz="1200" i="1" dirty="0">
                <a:solidFill>
                  <a:srgbClr val="000000"/>
                </a:solidFill>
              </a:rPr>
              <a:t> </a:t>
            </a:r>
            <a:r>
              <a:rPr lang="en-US" sz="1200" dirty="0">
                <a:solidFill>
                  <a:srgbClr val="000000"/>
                </a:solidFill>
              </a:rPr>
              <a:t>and provides regular status reports to their ISSP/SCA per the continuous monitoring strategy.</a:t>
            </a:r>
          </a:p>
          <a:p>
            <a:pPr marL="285750" indent="-285750" eaLnBrk="0" hangingPunct="0">
              <a:lnSpc>
                <a:spcPct val="106000"/>
              </a:lnSpc>
              <a:buFont typeface="Wingdings" panose="05000000000000000000" pitchFamily="2" charset="2"/>
              <a:buChar char="ü"/>
            </a:pPr>
            <a:r>
              <a:rPr lang="en-US" sz="1200" dirty="0">
                <a:solidFill>
                  <a:srgbClr val="000000"/>
                </a:solidFill>
              </a:rPr>
              <a:t>The ISSM conducts any necessary remediation actions based on findings discovered during continuous monitoring.</a:t>
            </a:r>
          </a:p>
          <a:p>
            <a:pPr marL="285750" indent="-285750" eaLnBrk="0" hangingPunct="0">
              <a:lnSpc>
                <a:spcPct val="106000"/>
              </a:lnSpc>
              <a:buFont typeface="Wingdings" panose="05000000000000000000" pitchFamily="2" charset="2"/>
              <a:buChar char="ü"/>
            </a:pPr>
            <a:r>
              <a:rPr lang="en-US" sz="1200" dirty="0">
                <a:solidFill>
                  <a:srgbClr val="000000"/>
                </a:solidFill>
              </a:rPr>
              <a:t>The ISSM ensures IS security documentation is updated and maintained and reviews the reported security status of the IS.</a:t>
            </a:r>
          </a:p>
          <a:p>
            <a:pPr marL="285750" indent="-285750" eaLnBrk="0" hangingPunct="0">
              <a:lnSpc>
                <a:spcPct val="106000"/>
              </a:lnSpc>
              <a:buFont typeface="Wingdings" panose="05000000000000000000" pitchFamily="2" charset="2"/>
              <a:buChar char="ü"/>
            </a:pPr>
            <a:r>
              <a:rPr lang="en-US" sz="1200" dirty="0">
                <a:solidFill>
                  <a:srgbClr val="000000"/>
                </a:solidFill>
              </a:rPr>
              <a:t>As necessary, the ISSM develops and implements an IS decommissioning strategy.</a:t>
            </a:r>
          </a:p>
          <a:p>
            <a:pPr eaLnBrk="0" hangingPunct="0">
              <a:lnSpc>
                <a:spcPct val="106000"/>
              </a:lnSpc>
            </a:pPr>
            <a:r>
              <a:rPr lang="en-US" sz="1200" dirty="0">
                <a:solidFill>
                  <a:srgbClr val="000000"/>
                </a:solidFill>
              </a:rPr>
              <a:t>This step will result in the following: </a:t>
            </a:r>
          </a:p>
          <a:p>
            <a:pPr marL="171450" indent="-171450" eaLnBrk="0" hangingPunct="0">
              <a:lnSpc>
                <a:spcPct val="106000"/>
              </a:lnSpc>
              <a:buFont typeface="Arial" panose="020B0604020202020204" pitchFamily="34" charset="0"/>
              <a:buChar char="•"/>
            </a:pPr>
            <a:r>
              <a:rPr lang="en-US" sz="1200" b="1" dirty="0">
                <a:solidFill>
                  <a:srgbClr val="000000"/>
                </a:solidFill>
              </a:rPr>
              <a:t>Outcome: </a:t>
            </a:r>
            <a:r>
              <a:rPr lang="en-US" sz="1200" dirty="0" smtClean="0">
                <a:solidFill>
                  <a:srgbClr val="000000"/>
                </a:solidFill>
              </a:rPr>
              <a:t>Continued evaluation and remediation of the authorized IS.</a:t>
            </a:r>
          </a:p>
          <a:p>
            <a:pPr marL="171450" indent="-171450" eaLnBrk="0" hangingPunct="0">
              <a:lnSpc>
                <a:spcPct val="106000"/>
              </a:lnSpc>
              <a:buFont typeface="Arial" panose="020B0604020202020204" pitchFamily="34" charset="0"/>
              <a:buChar char="•"/>
            </a:pPr>
            <a:r>
              <a:rPr lang="en-US" sz="1200" b="1" dirty="0">
                <a:solidFill>
                  <a:srgbClr val="000000"/>
                </a:solidFill>
              </a:rPr>
              <a:t>Artifact(s): </a:t>
            </a:r>
            <a:r>
              <a:rPr lang="en-US" sz="1200" dirty="0" smtClean="0">
                <a:solidFill>
                  <a:srgbClr val="000000"/>
                </a:solidFill>
              </a:rPr>
              <a:t>Updated POA&amp;M, updated SSP, and decommissioning strategy (as necessary).</a:t>
            </a:r>
            <a:endParaRPr lang="en-US" sz="1200" b="1" dirty="0">
              <a:solidFill>
                <a:srgbClr val="000000"/>
              </a:solidFill>
            </a:endParaRPr>
          </a:p>
        </p:txBody>
      </p:sp>
      <p:sp>
        <p:nvSpPr>
          <p:cNvPr id="10" name="Rectangle 9"/>
          <p:cNvSpPr/>
          <p:nvPr/>
        </p:nvSpPr>
        <p:spPr bwMode="gray">
          <a:xfrm>
            <a:off x="257968" y="961617"/>
            <a:ext cx="8686800" cy="2804955"/>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524610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8" y="108316"/>
            <a:ext cx="6605217" cy="664797"/>
          </a:xfrm>
        </p:spPr>
        <p:txBody>
          <a:bodyPr/>
          <a:lstStyle/>
          <a:p>
            <a:pPr>
              <a:lnSpc>
                <a:spcPct val="90000"/>
              </a:lnSpc>
            </a:pPr>
            <a:r>
              <a:rPr lang="en-US" dirty="0" smtClean="0"/>
              <a:t>Security Controls and Continuous Monitoring</a:t>
            </a:r>
            <a:endParaRPr lang="en-US" dirty="0"/>
          </a:p>
        </p:txBody>
      </p:sp>
      <p:sp>
        <p:nvSpPr>
          <p:cNvPr id="27" name="Rectangle 50"/>
          <p:cNvSpPr>
            <a:spLocks noChangeArrowheads="1"/>
          </p:cNvSpPr>
          <p:nvPr/>
        </p:nvSpPr>
        <p:spPr bwMode="gray">
          <a:xfrm>
            <a:off x="411721" y="996697"/>
            <a:ext cx="8373353" cy="499126"/>
          </a:xfrm>
          <a:prstGeom prst="rect">
            <a:avLst/>
          </a:prstGeom>
          <a:noFill/>
          <a:ln w="9525" algn="ctr">
            <a:noFill/>
            <a:miter lim="800000"/>
            <a:headEnd/>
            <a:tailEnd/>
          </a:ln>
          <a:effectLst/>
        </p:spPr>
        <p:txBody>
          <a:bodyPr wrap="square" lIns="0" tIns="0" rIns="0" bIns="0" anchor="t" anchorCtr="0"/>
          <a:lstStyle/>
          <a:p>
            <a:pPr eaLnBrk="0" hangingPunct="0"/>
            <a:r>
              <a:rPr lang="en-US" sz="1400" dirty="0" smtClean="0">
                <a:solidFill>
                  <a:srgbClr val="000000"/>
                </a:solidFill>
              </a:rPr>
              <a:t>The RMF process will manage risk more effectively through the introduction of security controls and continuous monitoring of those controls.</a:t>
            </a:r>
            <a:endParaRPr lang="en-US" sz="1400" dirty="0">
              <a:solidFill>
                <a:srgbClr val="000000"/>
              </a:solidFill>
            </a:endParaRPr>
          </a:p>
        </p:txBody>
      </p:sp>
      <p:sp>
        <p:nvSpPr>
          <p:cNvPr id="29" name="Rectangle 28"/>
          <p:cNvSpPr/>
          <p:nvPr/>
        </p:nvSpPr>
        <p:spPr>
          <a:xfrm>
            <a:off x="438226" y="4240437"/>
            <a:ext cx="1932234" cy="1283188"/>
          </a:xfrm>
          <a:prstGeom prst="rect">
            <a:avLst/>
          </a:prstGeom>
        </p:spPr>
        <p:txBody>
          <a:bodyPr wrap="square" lIns="82058" tIns="41029" rIns="82058" bIns="41029">
            <a:spAutoFit/>
          </a:bodyPr>
          <a:lstStyle/>
          <a:p>
            <a:pPr defTabSz="820295" eaLnBrk="0" fontAlgn="base" hangingPunct="0">
              <a:spcBef>
                <a:spcPct val="50000"/>
              </a:spcBef>
              <a:spcAft>
                <a:spcPct val="0"/>
              </a:spcAft>
            </a:pPr>
            <a:r>
              <a:rPr lang="en-US" sz="1200" b="1" dirty="0" smtClean="0">
                <a:solidFill>
                  <a:srgbClr val="000000"/>
                </a:solidFill>
                <a:cs typeface="Arial" pitchFamily="34" charset="0"/>
              </a:rPr>
              <a:t>Resources to assist in the RMF Process</a:t>
            </a:r>
          </a:p>
          <a:p>
            <a:pPr defTabSz="820295" eaLnBrk="0" fontAlgn="base" hangingPunct="0">
              <a:spcBef>
                <a:spcPct val="50000"/>
              </a:spcBef>
              <a:spcAft>
                <a:spcPct val="0"/>
              </a:spcAft>
            </a:pPr>
            <a:r>
              <a:rPr lang="en-US" sz="1200" dirty="0" smtClean="0">
                <a:solidFill>
                  <a:srgbClr val="000000"/>
                </a:solidFill>
                <a:cs typeface="Arial" pitchFamily="34" charset="0"/>
              </a:rPr>
              <a:t>Many additional resources can be found on the NIST website (</a:t>
            </a:r>
            <a:r>
              <a:rPr lang="en-US" sz="1200" dirty="0" smtClean="0">
                <a:solidFill>
                  <a:srgbClr val="000000"/>
                </a:solidFill>
                <a:cs typeface="Arial" pitchFamily="34" charset="0"/>
                <a:hlinkClick r:id="rId3"/>
              </a:rPr>
              <a:t>www.nist.gov</a:t>
            </a:r>
            <a:r>
              <a:rPr lang="en-US" sz="1200" dirty="0" smtClean="0">
                <a:solidFill>
                  <a:srgbClr val="000000"/>
                </a:solidFill>
                <a:cs typeface="Arial" pitchFamily="34" charset="0"/>
              </a:rPr>
              <a:t>)</a:t>
            </a:r>
            <a:endParaRPr lang="en-US" sz="1200" dirty="0">
              <a:solidFill>
                <a:prstClr val="black"/>
              </a:solidFill>
              <a:cs typeface="Arial" pitchFamily="34" charset="0"/>
            </a:endParaRPr>
          </a:p>
        </p:txBody>
      </p:sp>
      <p:sp>
        <p:nvSpPr>
          <p:cNvPr id="30" name="AutoShape 12"/>
          <p:cNvSpPr>
            <a:spLocks noChangeArrowheads="1"/>
          </p:cNvSpPr>
          <p:nvPr/>
        </p:nvSpPr>
        <p:spPr bwMode="auto">
          <a:xfrm>
            <a:off x="2341543" y="3690257"/>
            <a:ext cx="345725" cy="2514600"/>
          </a:xfrm>
          <a:prstGeom prst="homePlate">
            <a:avLst>
              <a:gd name="adj" fmla="val 100000"/>
            </a:avLst>
          </a:prstGeom>
          <a:solidFill>
            <a:schemeClr val="bg1">
              <a:lumMod val="85000"/>
            </a:schemeClr>
          </a:solidFill>
          <a:ln w="6350" algn="ctr">
            <a:noFill/>
            <a:miter lim="800000"/>
            <a:headEnd/>
            <a:tailEnd/>
          </a:ln>
        </p:spPr>
        <p:txBody>
          <a:bodyPr lIns="82058" tIns="82058" rIns="82058" bIns="82058" anchor="ctr"/>
          <a:lstStyle/>
          <a:p>
            <a:pPr algn="ctr" eaLnBrk="0" fontAlgn="base" hangingPunct="0">
              <a:spcBef>
                <a:spcPct val="50000"/>
              </a:spcBef>
              <a:spcAft>
                <a:spcPct val="0"/>
              </a:spcAft>
            </a:pPr>
            <a:endParaRPr lang="en-GB" sz="1300" dirty="0">
              <a:solidFill>
                <a:srgbClr val="000000"/>
              </a:solidFill>
            </a:endParaRPr>
          </a:p>
        </p:txBody>
      </p:sp>
      <p:graphicFrame>
        <p:nvGraphicFramePr>
          <p:cNvPr id="31" name="Diagram 30"/>
          <p:cNvGraphicFramePr/>
          <p:nvPr>
            <p:extLst/>
          </p:nvPr>
        </p:nvGraphicFramePr>
        <p:xfrm>
          <a:off x="2670873" y="3335074"/>
          <a:ext cx="6114201" cy="3168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Table 1"/>
          <p:cNvGraphicFramePr>
            <a:graphicFrameLocks noGrp="1"/>
          </p:cNvGraphicFramePr>
          <p:nvPr>
            <p:extLst/>
          </p:nvPr>
        </p:nvGraphicFramePr>
        <p:xfrm>
          <a:off x="168498" y="1523099"/>
          <a:ext cx="8859798" cy="1699444"/>
        </p:xfrm>
        <a:graphic>
          <a:graphicData uri="http://schemas.openxmlformats.org/drawingml/2006/table">
            <a:tbl>
              <a:tblPr firstRow="1" bandRow="1">
                <a:tableStyleId>{5C22544A-7EE6-4342-B048-85BDC9FD1C3A}</a:tableStyleId>
              </a:tblPr>
              <a:tblGrid>
                <a:gridCol w="4429899"/>
                <a:gridCol w="4429899"/>
              </a:tblGrid>
              <a:tr h="283550">
                <a:tc>
                  <a:txBody>
                    <a:bodyPr/>
                    <a:lstStyle/>
                    <a:p>
                      <a:pPr algn="ctr"/>
                      <a:r>
                        <a:rPr lang="en-US" sz="1200" dirty="0" smtClean="0"/>
                        <a:t>Purpose of Security Controls and Continuous Monitoring</a:t>
                      </a:r>
                      <a:endParaRPr lang="en-US" sz="12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Benefits of Security Controls and Continuous Monitoring</a:t>
                      </a:r>
                    </a:p>
                  </a:txBody>
                  <a:tcPr/>
                </a:tc>
              </a:tr>
              <a:tr h="1415894">
                <a:tc>
                  <a:txBody>
                    <a:bodyPr/>
                    <a:lstStyle/>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cs typeface="Arial" pitchFamily="34" charset="0"/>
                        </a:rPr>
                        <a:t>Assess security control effectiveness for an I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cs typeface="Arial" pitchFamily="34" charset="0"/>
                        </a:rPr>
                        <a:t>Document changes to the IS or its environment of operation</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cs typeface="Arial" pitchFamily="34" charset="0"/>
                        </a:rPr>
                        <a:t>Conduct security impact analyses of associated change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cs typeface="Arial" pitchFamily="34" charset="0"/>
                        </a:rPr>
                        <a:t>Report the security status of an IS</a:t>
                      </a:r>
                      <a:endParaRPr lang="nl-NL" sz="1300" dirty="0" smtClean="0">
                        <a:solidFill>
                          <a:srgbClr val="000000"/>
                        </a:solidFill>
                        <a:cs typeface="Arial" pitchFamily="34" charset="0"/>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noFill/>
                  </a:tcPr>
                </a:tc>
                <a:tc>
                  <a:txBody>
                    <a:bodyPr/>
                    <a:lstStyle/>
                    <a:p>
                      <a:pPr marL="224161" lvl="1" indent="-171450" algn="l" defTabSz="859707" rtl="0" eaLnBrk="0" fontAlgn="base" latinLnBrk="0" hangingPunct="0">
                        <a:spcBef>
                          <a:spcPts val="200"/>
                        </a:spcBef>
                        <a:spcAft>
                          <a:spcPct val="0"/>
                        </a:spcAft>
                        <a:buClr>
                          <a:schemeClr val="bg2">
                            <a:lumMod val="75000"/>
                          </a:schemeClr>
                        </a:buClr>
                        <a:buSzPct val="150000"/>
                        <a:buFont typeface="Wingdings" panose="05000000000000000000" pitchFamily="2" charset="2"/>
                        <a:buChar char="ü"/>
                        <a:defRPr/>
                      </a:pPr>
                      <a:r>
                        <a:rPr lang="en-US" sz="1300" kern="1200" dirty="0" smtClean="0">
                          <a:solidFill>
                            <a:srgbClr val="000000"/>
                          </a:solidFill>
                          <a:latin typeface="+mn-lt"/>
                          <a:ea typeface="+mn-ea"/>
                          <a:cs typeface="Arial" pitchFamily="34" charset="0"/>
                        </a:rPr>
                        <a:t>Facilitate more efficient enterprise management of cybersecurity</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mn-lt"/>
                          <a:ea typeface="+mn-ea"/>
                          <a:cs typeface="Arial" pitchFamily="34" charset="0"/>
                        </a:rPr>
                        <a:t>Increase security in the system development and acquisition processes</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mn-lt"/>
                          <a:ea typeface="+mn-ea"/>
                          <a:cs typeface="Arial" pitchFamily="34" charset="0"/>
                        </a:rPr>
                        <a:t>Ensure compliance with national</a:t>
                      </a:r>
                      <a:r>
                        <a:rPr lang="en-US" sz="1300" kern="1200" baseline="0" dirty="0" smtClean="0">
                          <a:solidFill>
                            <a:srgbClr val="000000"/>
                          </a:solidFill>
                          <a:latin typeface="+mn-lt"/>
                          <a:ea typeface="+mn-ea"/>
                          <a:cs typeface="Arial" pitchFamily="34" charset="0"/>
                        </a:rPr>
                        <a:t> standards and reporting requirements</a:t>
                      </a:r>
                      <a:endParaRPr lang="nl-NL" sz="1300" kern="1200" dirty="0" smtClean="0">
                        <a:solidFill>
                          <a:srgbClr val="000000"/>
                        </a:solidFill>
                        <a:latin typeface="+mn-lt"/>
                        <a:ea typeface="+mn-ea"/>
                        <a:cs typeface="Arial" pitchFamily="34" charset="0"/>
                      </a:endParaRP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08507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eaLnBrk="1" fontAlgn="t" hangingPunct="1">
              <a:lnSpc>
                <a:spcPct val="115000"/>
              </a:lnSpc>
              <a:spcBef>
                <a:spcPts val="0"/>
              </a:spcBef>
              <a:spcAft>
                <a:spcPts val="0"/>
              </a:spcAft>
            </a:pPr>
            <a:r>
              <a:rPr lang="en-US" b="1" kern="1200" dirty="0">
                <a:solidFill>
                  <a:srgbClr val="FFFFFF"/>
                </a:solidFill>
                <a:latin typeface="Candara"/>
              </a:rPr>
              <a:t>System Accreditation Status</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Transition Timeline / Instructions</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Local Area Network, Wide Area Network  or  Interconnected System between August 1, 2016 – 28  February 2017</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t>Transition Timelin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594034595"/>
              </p:ext>
            </p:extLst>
          </p:nvPr>
        </p:nvGraphicFramePr>
        <p:xfrm>
          <a:off x="204716" y="1009934"/>
          <a:ext cx="8789159" cy="5089401"/>
        </p:xfrm>
        <a:graphic>
          <a:graphicData uri="http://schemas.openxmlformats.org/drawingml/2006/table">
            <a:tbl>
              <a:tblPr firstRow="1" firstCol="1" bandRow="1"/>
              <a:tblGrid>
                <a:gridCol w="2736249"/>
                <a:gridCol w="6052910"/>
              </a:tblGrid>
              <a:tr h="593831">
                <a:tc>
                  <a:txBody>
                    <a:bodyPr/>
                    <a:lstStyle/>
                    <a:p>
                      <a:pPr>
                        <a:spcAft>
                          <a:spcPts val="0"/>
                        </a:spcAft>
                      </a:pPr>
                      <a:r>
                        <a:rPr lang="en-US" sz="1600" b="1" dirty="0">
                          <a:effectLst/>
                          <a:latin typeface="Times New Roman"/>
                          <a:ea typeface="Times New Roman"/>
                        </a:rPr>
                        <a:t>System Accreditation Status</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28575" cap="flat" cmpd="sng" algn="ctr">
                      <a:solidFill>
                        <a:srgbClr val="1F497D"/>
                      </a:solidFill>
                      <a:prstDash val="solid"/>
                      <a:round/>
                      <a:headEnd type="none" w="med" len="med"/>
                      <a:tailEnd type="none" w="med" len="med"/>
                    </a:lnB>
                    <a:solidFill>
                      <a:srgbClr val="8DB3E2"/>
                    </a:solidFill>
                  </a:tcPr>
                </a:tc>
                <a:tc>
                  <a:txBody>
                    <a:bodyPr/>
                    <a:lstStyle/>
                    <a:p>
                      <a:pPr>
                        <a:spcAft>
                          <a:spcPts val="0"/>
                        </a:spcAft>
                      </a:pPr>
                      <a:r>
                        <a:rPr lang="en-US" sz="1600" b="1" dirty="0">
                          <a:effectLst/>
                          <a:latin typeface="Times New Roman"/>
                          <a:ea typeface="Times New Roman"/>
                        </a:rPr>
                        <a:t>Transition Timeline / Instructions</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28575" cap="flat" cmpd="sng" algn="ctr">
                      <a:solidFill>
                        <a:srgbClr val="1F497D"/>
                      </a:solidFill>
                      <a:prstDash val="solid"/>
                      <a:round/>
                      <a:headEnd type="none" w="med" len="med"/>
                      <a:tailEnd type="none" w="med" len="med"/>
                    </a:lnB>
                    <a:solidFill>
                      <a:srgbClr val="8DB3E2"/>
                    </a:solidFill>
                  </a:tcPr>
                </a:tc>
              </a:tr>
              <a:tr h="1368217">
                <a:tc>
                  <a:txBody>
                    <a:bodyPr/>
                    <a:lstStyle/>
                    <a:p>
                      <a:pPr>
                        <a:spcAft>
                          <a:spcPts val="0"/>
                        </a:spcAft>
                      </a:pPr>
                      <a:r>
                        <a:rPr lang="en-US" sz="1600" dirty="0">
                          <a:effectLst/>
                          <a:latin typeface="Times New Roman"/>
                          <a:ea typeface="Times New Roman"/>
                        </a:rPr>
                        <a:t>System Security Plan /Master System Security Plan (MSSP) submitted prior to October </a:t>
                      </a:r>
                      <a:r>
                        <a:rPr lang="en-US" sz="1600" dirty="0" smtClean="0">
                          <a:effectLst/>
                          <a:latin typeface="Times New Roman"/>
                          <a:ea typeface="Times New Roman"/>
                        </a:rPr>
                        <a:t>3, </a:t>
                      </a:r>
                      <a:r>
                        <a:rPr lang="en-US" sz="1600" dirty="0">
                          <a:effectLst/>
                          <a:latin typeface="Times New Roman"/>
                          <a:ea typeface="Times New Roman"/>
                        </a:rPr>
                        <a:t>2016.</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c>
                  <a:txBody>
                    <a:bodyPr/>
                    <a:lstStyle/>
                    <a:p>
                      <a:pPr>
                        <a:spcAft>
                          <a:spcPts val="0"/>
                        </a:spcAft>
                      </a:pPr>
                      <a:r>
                        <a:rPr lang="en-US" sz="1600" dirty="0">
                          <a:effectLst/>
                          <a:latin typeface="Times New Roman"/>
                        </a:rPr>
                        <a:t>Continue using current C&amp;A process with the latest version of the ODAA Process Manual. The ATO will last no greater than 18 months starting October </a:t>
                      </a:r>
                      <a:r>
                        <a:rPr lang="en-US" sz="1600" dirty="0" smtClean="0">
                          <a:effectLst/>
                          <a:latin typeface="Times New Roman"/>
                        </a:rPr>
                        <a:t>3, </a:t>
                      </a:r>
                      <a:r>
                        <a:rPr lang="en-US" sz="1600" dirty="0">
                          <a:effectLst/>
                          <a:latin typeface="Times New Roman"/>
                        </a:rPr>
                        <a:t>2016. Within six months of authorization, develop a Plan of Action and Milestones (POA&amp;M) for transition to RMF.</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r>
              <a:tr h="977298">
                <a:tc>
                  <a:txBody>
                    <a:bodyPr/>
                    <a:lstStyle/>
                    <a:p>
                      <a:pPr>
                        <a:spcAft>
                          <a:spcPts val="0"/>
                        </a:spcAft>
                      </a:pPr>
                      <a:r>
                        <a:rPr lang="en-US" sz="1600" dirty="0">
                          <a:effectLst/>
                          <a:latin typeface="Times New Roman"/>
                          <a:ea typeface="Times New Roman"/>
                        </a:rPr>
                        <a:t>SSPs/MSSPs after </a:t>
                      </a:r>
                      <a:endParaRPr lang="en-US" sz="1600" dirty="0">
                        <a:effectLst/>
                        <a:latin typeface="Calibri"/>
                      </a:endParaRPr>
                    </a:p>
                    <a:p>
                      <a:pPr>
                        <a:spcAft>
                          <a:spcPts val="0"/>
                        </a:spcAft>
                      </a:pPr>
                      <a:r>
                        <a:rPr lang="en-US" sz="1600" dirty="0">
                          <a:effectLst/>
                          <a:latin typeface="Times New Roman"/>
                          <a:ea typeface="Times New Roman"/>
                        </a:rPr>
                        <a:t>October </a:t>
                      </a:r>
                      <a:r>
                        <a:rPr lang="en-US" sz="1600" dirty="0" smtClean="0">
                          <a:effectLst/>
                          <a:latin typeface="Times New Roman"/>
                          <a:ea typeface="Times New Roman"/>
                        </a:rPr>
                        <a:t>3, </a:t>
                      </a:r>
                      <a:r>
                        <a:rPr lang="en-US" sz="1600" dirty="0">
                          <a:effectLst/>
                          <a:latin typeface="Times New Roman"/>
                          <a:ea typeface="Times New Roman"/>
                        </a:rPr>
                        <a:t>2016.</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DBE5F1"/>
                    </a:solidFill>
                  </a:tcPr>
                </a:tc>
                <a:tc>
                  <a:txBody>
                    <a:bodyPr/>
                    <a:lstStyle/>
                    <a:p>
                      <a:pPr>
                        <a:spcAft>
                          <a:spcPts val="0"/>
                        </a:spcAft>
                      </a:pPr>
                      <a:r>
                        <a:rPr lang="en-US" sz="1600">
                          <a:effectLst/>
                          <a:latin typeface="Times New Roman"/>
                        </a:rPr>
                        <a:t>Execute RMF Assessment and Authorization through the DAAPM.</a:t>
                      </a:r>
                      <a:endParaRPr lang="en-US" sz="1600">
                        <a:effectLst/>
                        <a:latin typeface="Calibri"/>
                      </a:endParaRPr>
                    </a:p>
                    <a:p>
                      <a:pPr>
                        <a:spcAft>
                          <a:spcPts val="0"/>
                        </a:spcAft>
                      </a:pPr>
                      <a:r>
                        <a:rPr lang="en-US" sz="1600">
                          <a:effectLst/>
                          <a:latin typeface="Times New Roman"/>
                        </a:rPr>
                        <a:t> </a:t>
                      </a:r>
                      <a:endParaRPr lang="en-US" sz="1600">
                        <a:effectLst/>
                        <a:latin typeface="Calibri"/>
                      </a:endParaRPr>
                    </a:p>
                    <a:p>
                      <a:pPr>
                        <a:spcAft>
                          <a:spcPts val="0"/>
                        </a:spcAft>
                      </a:pPr>
                      <a:r>
                        <a:rPr lang="en-US" sz="1600">
                          <a:effectLst/>
                          <a:latin typeface="Times New Roman"/>
                        </a:rPr>
                        <a:t>Standalones are no longer allowed to be self-certified under the C&amp;A process.</a:t>
                      </a:r>
                      <a:endParaRPr lang="en-US" sz="160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DBE5F1"/>
                    </a:solidFill>
                  </a:tcPr>
                </a:tc>
              </a:tr>
              <a:tr h="2150055">
                <a:tc>
                  <a:txBody>
                    <a:bodyPr/>
                    <a:lstStyle/>
                    <a:p>
                      <a:pPr>
                        <a:spcAft>
                          <a:spcPts val="0"/>
                        </a:spcAft>
                      </a:pPr>
                      <a:r>
                        <a:rPr lang="en-US" sz="1600" dirty="0">
                          <a:effectLst/>
                          <a:latin typeface="Times New Roman"/>
                          <a:ea typeface="Times New Roman"/>
                        </a:rPr>
                        <a:t>Local Area Network (LAN), Wide Area Network (WAN) or Interconnected System </a:t>
                      </a:r>
                      <a:r>
                        <a:rPr lang="en-US" sz="1600">
                          <a:effectLst/>
                          <a:latin typeface="Times New Roman"/>
                          <a:ea typeface="Times New Roman"/>
                        </a:rPr>
                        <a:t>after </a:t>
                      </a:r>
                      <a:r>
                        <a:rPr lang="en-US" sz="1600" smtClean="0">
                          <a:effectLst/>
                          <a:latin typeface="Times New Roman"/>
                          <a:ea typeface="Times New Roman"/>
                        </a:rPr>
                        <a:t>October 3, </a:t>
                      </a:r>
                      <a:r>
                        <a:rPr lang="en-US" sz="1600" dirty="0">
                          <a:effectLst/>
                          <a:latin typeface="Times New Roman"/>
                          <a:ea typeface="Times New Roman"/>
                        </a:rPr>
                        <a:t>2016.</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c>
                  <a:txBody>
                    <a:bodyPr/>
                    <a:lstStyle/>
                    <a:p>
                      <a:pPr>
                        <a:spcAft>
                          <a:spcPts val="0"/>
                        </a:spcAft>
                      </a:pPr>
                      <a:r>
                        <a:rPr lang="en-US" sz="1600" b="1" kern="1200" dirty="0">
                          <a:solidFill>
                            <a:schemeClr val="tx1"/>
                          </a:solidFill>
                          <a:effectLst/>
                          <a:latin typeface="Times New Roman"/>
                          <a:ea typeface="+mn-ea"/>
                          <a:cs typeface="+mn-cs"/>
                        </a:rPr>
                        <a:t>Phase 1: </a:t>
                      </a:r>
                      <a:r>
                        <a:rPr lang="en-US" sz="1600" kern="1200" dirty="0">
                          <a:solidFill>
                            <a:schemeClr val="tx1"/>
                          </a:solidFill>
                          <a:effectLst/>
                          <a:latin typeface="Times New Roman"/>
                          <a:ea typeface="+mn-ea"/>
                          <a:cs typeface="+mn-cs"/>
                        </a:rPr>
                        <a:t>Cleared contractors continue using the current C&amp;A process with the latest version of the ODAA Process Manual. ATO will last no greater than 18 months starting October </a:t>
                      </a:r>
                      <a:r>
                        <a:rPr lang="en-US" sz="1600" kern="1200" dirty="0" smtClean="0">
                          <a:solidFill>
                            <a:schemeClr val="tx1"/>
                          </a:solidFill>
                          <a:effectLst/>
                          <a:latin typeface="Times New Roman"/>
                          <a:ea typeface="+mn-ea"/>
                          <a:cs typeface="+mn-cs"/>
                        </a:rPr>
                        <a:t>3, </a:t>
                      </a:r>
                      <a:r>
                        <a:rPr lang="en-US" sz="1600" kern="1200" dirty="0">
                          <a:solidFill>
                            <a:schemeClr val="tx1"/>
                          </a:solidFill>
                          <a:effectLst/>
                          <a:latin typeface="Times New Roman"/>
                          <a:ea typeface="+mn-ea"/>
                          <a:cs typeface="+mn-cs"/>
                        </a:rPr>
                        <a:t>2016. Within six months of authorization, develop a POA&amp;M for transition to RMF.</a:t>
                      </a:r>
                    </a:p>
                    <a:p>
                      <a:pPr>
                        <a:spcAft>
                          <a:spcPts val="0"/>
                        </a:spcAft>
                      </a:pPr>
                      <a:r>
                        <a:rPr lang="en-US" sz="1600" kern="1200" dirty="0">
                          <a:solidFill>
                            <a:schemeClr val="tx1"/>
                          </a:solidFill>
                          <a:effectLst/>
                          <a:latin typeface="Times New Roman"/>
                          <a:ea typeface="+mn-ea"/>
                          <a:cs typeface="+mn-cs"/>
                        </a:rPr>
                        <a:t> </a:t>
                      </a:r>
                    </a:p>
                    <a:p>
                      <a:pPr>
                        <a:spcAft>
                          <a:spcPts val="0"/>
                        </a:spcAft>
                      </a:pPr>
                      <a:r>
                        <a:rPr lang="en-US" sz="1600" b="1" kern="1200" dirty="0">
                          <a:solidFill>
                            <a:schemeClr val="tx1"/>
                          </a:solidFill>
                          <a:effectLst/>
                          <a:latin typeface="Times New Roman"/>
                          <a:ea typeface="+mn-ea"/>
                          <a:cs typeface="+mn-cs"/>
                        </a:rPr>
                        <a:t>Phase 2: </a:t>
                      </a:r>
                      <a:r>
                        <a:rPr lang="en-US" sz="1600" kern="1200" dirty="0">
                          <a:solidFill>
                            <a:schemeClr val="tx1"/>
                          </a:solidFill>
                          <a:effectLst/>
                          <a:latin typeface="Times New Roman"/>
                          <a:ea typeface="+mn-ea"/>
                          <a:cs typeface="+mn-cs"/>
                        </a:rPr>
                        <a:t>Execute RMF Assessment and Authorizatio</a:t>
                      </a:r>
                      <a:r>
                        <a:rPr lang="en-US" sz="1600" dirty="0">
                          <a:effectLst/>
                          <a:latin typeface="Times New Roman"/>
                        </a:rPr>
                        <a:t>n process through the DAAPM. </a:t>
                      </a:r>
                      <a:r>
                        <a:rPr lang="en-US" sz="1600" i="1" dirty="0">
                          <a:effectLst/>
                          <a:latin typeface="Times New Roman"/>
                        </a:rPr>
                        <a:t>(Timeline TBD.)</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5292459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1638" y="409424"/>
            <a:ext cx="8345487" cy="363689"/>
          </a:xfrm>
        </p:spPr>
        <p:txBody>
          <a:bodyPr/>
          <a:lstStyle/>
          <a:p>
            <a:r>
              <a:rPr lang="en-US" dirty="0" smtClean="0"/>
              <a:t>Resources</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8947" b="8945"/>
          <a:stretch/>
        </p:blipFill>
        <p:spPr>
          <a:xfrm>
            <a:off x="6608769" y="3778559"/>
            <a:ext cx="2175539" cy="2233042"/>
          </a:xfrm>
          <a:prstGeom prst="rect">
            <a:avLst/>
          </a:prstGeom>
        </p:spPr>
      </p:pic>
      <p:sp>
        <p:nvSpPr>
          <p:cNvPr id="6" name="Text Placeholder 1"/>
          <p:cNvSpPr>
            <a:spLocks noGrp="1"/>
          </p:cNvSpPr>
          <p:nvPr>
            <p:ph type="body" sz="quarter" idx="10"/>
          </p:nvPr>
        </p:nvSpPr>
        <p:spPr>
          <a:xfrm>
            <a:off x="431962" y="1152144"/>
            <a:ext cx="8352346" cy="4987399"/>
          </a:xfrm>
        </p:spPr>
        <p:txBody>
          <a:bodyPr/>
          <a:lstStyle/>
          <a:p>
            <a:r>
              <a:rPr lang="en-US" sz="1500" dirty="0" smtClean="0"/>
              <a:t>CDSE </a:t>
            </a:r>
            <a:r>
              <a:rPr lang="en-US" sz="1500" dirty="0"/>
              <a:t>Training </a:t>
            </a:r>
            <a:r>
              <a:rPr lang="en-US" sz="1500" dirty="0" smtClean="0"/>
              <a:t>courses</a:t>
            </a:r>
            <a:endParaRPr lang="en-US" sz="1500" dirty="0"/>
          </a:p>
          <a:p>
            <a:pPr lvl="3">
              <a:lnSpc>
                <a:spcPct val="100000"/>
              </a:lnSpc>
              <a:spcBef>
                <a:spcPts val="600"/>
              </a:spcBef>
              <a:buFont typeface="Arial" panose="020B0604020202020204" pitchFamily="34" charset="0"/>
              <a:buChar char="•"/>
            </a:pPr>
            <a:r>
              <a:rPr lang="en-US" sz="1500" dirty="0"/>
              <a:t>Introduction to RMF (CS124.16)</a:t>
            </a:r>
          </a:p>
          <a:p>
            <a:pPr lvl="3">
              <a:lnSpc>
                <a:spcPct val="100000"/>
              </a:lnSpc>
              <a:spcBef>
                <a:spcPts val="600"/>
              </a:spcBef>
              <a:buFont typeface="Arial" panose="020B0604020202020204" pitchFamily="34" charset="0"/>
              <a:buChar char="•"/>
            </a:pPr>
            <a:r>
              <a:rPr lang="en-US" sz="1500" dirty="0"/>
              <a:t>Continuous Monitoring (CS200.16)</a:t>
            </a:r>
          </a:p>
          <a:p>
            <a:pPr lvl="3">
              <a:lnSpc>
                <a:spcPct val="100000"/>
              </a:lnSpc>
              <a:spcBef>
                <a:spcPts val="600"/>
              </a:spcBef>
              <a:buFont typeface="Arial" panose="020B0604020202020204" pitchFamily="34" charset="0"/>
              <a:buChar char="•"/>
            </a:pPr>
            <a:r>
              <a:rPr lang="en-US" sz="1500" dirty="0"/>
              <a:t>Categorization of the System (CS102.16)</a:t>
            </a:r>
          </a:p>
          <a:p>
            <a:pPr lvl="3">
              <a:lnSpc>
                <a:spcPct val="100000"/>
              </a:lnSpc>
              <a:spcBef>
                <a:spcPts val="600"/>
              </a:spcBef>
              <a:buFont typeface="Arial" panose="020B0604020202020204" pitchFamily="34" charset="0"/>
              <a:buChar char="•"/>
            </a:pPr>
            <a:r>
              <a:rPr lang="en-US" sz="1500" dirty="0"/>
              <a:t>Selecting Security Controls (CS103.16)</a:t>
            </a:r>
          </a:p>
          <a:p>
            <a:pPr lvl="3">
              <a:lnSpc>
                <a:spcPct val="100000"/>
              </a:lnSpc>
              <a:spcBef>
                <a:spcPts val="600"/>
              </a:spcBef>
              <a:buFont typeface="Arial" panose="020B0604020202020204" pitchFamily="34" charset="0"/>
              <a:buChar char="•"/>
            </a:pPr>
            <a:r>
              <a:rPr lang="en-US" sz="1500" dirty="0"/>
              <a:t>Implementing Security Controls (CS104.16)</a:t>
            </a:r>
          </a:p>
          <a:p>
            <a:pPr lvl="3">
              <a:lnSpc>
                <a:spcPct val="100000"/>
              </a:lnSpc>
              <a:spcBef>
                <a:spcPts val="600"/>
              </a:spcBef>
              <a:buFont typeface="Arial" panose="020B0604020202020204" pitchFamily="34" charset="0"/>
              <a:buChar char="•"/>
            </a:pPr>
            <a:r>
              <a:rPr lang="en-US" sz="1500" dirty="0"/>
              <a:t>Assessing Security Controls (CS105.16)</a:t>
            </a:r>
          </a:p>
          <a:p>
            <a:pPr lvl="3">
              <a:lnSpc>
                <a:spcPct val="100000"/>
              </a:lnSpc>
              <a:spcBef>
                <a:spcPts val="600"/>
              </a:spcBef>
              <a:buFont typeface="Arial" panose="020B0604020202020204" pitchFamily="34" charset="0"/>
              <a:buChar char="•"/>
            </a:pPr>
            <a:r>
              <a:rPr lang="en-US" sz="1500" dirty="0"/>
              <a:t>Authorizing Systems (CS106.16)</a:t>
            </a:r>
          </a:p>
          <a:p>
            <a:pPr lvl="3">
              <a:lnSpc>
                <a:spcPct val="100000"/>
              </a:lnSpc>
              <a:spcBef>
                <a:spcPts val="600"/>
              </a:spcBef>
              <a:buFont typeface="Arial" panose="020B0604020202020204" pitchFamily="34" charset="0"/>
              <a:buChar char="•"/>
            </a:pPr>
            <a:r>
              <a:rPr lang="en-US" sz="1500" dirty="0"/>
              <a:t>Monitoring Security Controls (CS107.16</a:t>
            </a:r>
            <a:r>
              <a:rPr lang="en-US" sz="1500" dirty="0" smtClean="0"/>
              <a:t>)</a:t>
            </a:r>
            <a:endParaRPr lang="en-US" sz="1500" dirty="0"/>
          </a:p>
          <a:p>
            <a:pPr lvl="3">
              <a:lnSpc>
                <a:spcPct val="100000"/>
              </a:lnSpc>
              <a:spcBef>
                <a:spcPts val="600"/>
              </a:spcBef>
              <a:buFont typeface="Arial" panose="020B0604020202020204" pitchFamily="34" charset="0"/>
              <a:buChar char="•"/>
            </a:pPr>
            <a:endParaRPr lang="en-US" sz="1500" dirty="0" smtClean="0"/>
          </a:p>
          <a:p>
            <a:pPr lvl="3">
              <a:lnSpc>
                <a:spcPct val="100000"/>
              </a:lnSpc>
              <a:spcBef>
                <a:spcPts val="600"/>
              </a:spcBef>
              <a:buFont typeface="Arial" panose="020B0604020202020204" pitchFamily="34" charset="0"/>
              <a:buChar char="•"/>
            </a:pPr>
            <a:r>
              <a:rPr lang="en-US" sz="1500" dirty="0" smtClean="0"/>
              <a:t>www.dss.mil/rmf</a:t>
            </a:r>
            <a:endParaRPr lang="en-US" sz="1500" dirty="0"/>
          </a:p>
        </p:txBody>
      </p:sp>
    </p:spTree>
    <p:extLst>
      <p:ext uri="{BB962C8B-B14F-4D97-AF65-F5344CB8AC3E}">
        <p14:creationId xmlns:p14="http://schemas.microsoft.com/office/powerpoint/2010/main" val="15324432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381596"/>
            <a:ext cx="6440951" cy="391517"/>
          </a:xfrm>
        </p:spPr>
        <p:txBody>
          <a:bodyPr/>
          <a:lstStyle/>
          <a:p>
            <a:r>
              <a:rPr lang="en-US" dirty="0" smtClean="0"/>
              <a:t>RMF Policy References</a:t>
            </a:r>
            <a:endParaRPr lang="en-US" dirty="0"/>
          </a:p>
        </p:txBody>
      </p:sp>
      <p:pic>
        <p:nvPicPr>
          <p:cNvPr id="6860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188" y="1346200"/>
            <a:ext cx="7413625" cy="417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19694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40714"/>
            <a:ext cx="8345487" cy="332399"/>
          </a:xfrm>
        </p:spPr>
        <p:txBody>
          <a:bodyPr/>
          <a:lstStyle/>
          <a:p>
            <a:pPr>
              <a:lnSpc>
                <a:spcPct val="90000"/>
              </a:lnSpc>
            </a:pPr>
            <a:r>
              <a:rPr lang="en-US" dirty="0" smtClean="0"/>
              <a:t>RMF Process Stakeholders: New Terminology </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287479043"/>
              </p:ext>
            </p:extLst>
          </p:nvPr>
        </p:nvGraphicFramePr>
        <p:xfrm>
          <a:off x="202406" y="1903446"/>
          <a:ext cx="8742362" cy="4269502"/>
        </p:xfrm>
        <a:graphic>
          <a:graphicData uri="http://schemas.openxmlformats.org/drawingml/2006/table">
            <a:tbl>
              <a:tblPr firstRow="1" bandRow="1">
                <a:tableStyleId>{5C22544A-7EE6-4342-B048-85BDC9FD1C3A}</a:tableStyleId>
              </a:tblPr>
              <a:tblGrid>
                <a:gridCol w="4371181"/>
                <a:gridCol w="4371181"/>
              </a:tblGrid>
              <a:tr h="430119">
                <a:tc>
                  <a:txBody>
                    <a:bodyPr/>
                    <a:lstStyle/>
                    <a:p>
                      <a:pPr algn="ctr"/>
                      <a:r>
                        <a:rPr lang="en-US" sz="1400" i="0" dirty="0" smtClean="0"/>
                        <a:t>Old Term in the C&amp;A Process</a:t>
                      </a:r>
                      <a:endParaRPr lang="en-US" sz="1400" i="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i="0" dirty="0" smtClean="0"/>
                        <a:t>New Term in the RMF Process</a:t>
                      </a:r>
                      <a:endParaRPr lang="en-US" sz="1400" i="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mn-lt"/>
                          <a:ea typeface="+mn-ea"/>
                          <a:cs typeface="+mn-cs"/>
                        </a:rPr>
                        <a:t>Designated Approving Authority (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t>Authorizing Official</a:t>
                      </a:r>
                      <a:r>
                        <a:rPr lang="en-US" sz="1300" baseline="0" dirty="0" smtClean="0"/>
                        <a:t> (AO)</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mn-lt"/>
                          <a:ea typeface="+mn-ea"/>
                          <a:cs typeface="+mn-cs"/>
                        </a:rPr>
                        <a:t>Regional Designated Approving Authority (R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t>Regional Authorizing</a:t>
                      </a:r>
                      <a:r>
                        <a:rPr lang="en-US" sz="1300" baseline="0" dirty="0" smtClean="0"/>
                        <a:t> Official (RAO)</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mn-lt"/>
                          <a:ea typeface="+mn-ea"/>
                          <a:cs typeface="+mn-cs"/>
                        </a:rPr>
                        <a:t>Office of the Designated Approving Authority (ODAA)</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t>NISP Authorization</a:t>
                      </a:r>
                      <a:r>
                        <a:rPr lang="en-US" sz="1300" baseline="0" dirty="0" smtClean="0"/>
                        <a:t> Office</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t>Information System</a:t>
                      </a:r>
                      <a:r>
                        <a:rPr lang="en-US" sz="1300" baseline="0" dirty="0" smtClean="0"/>
                        <a:t> Security Professional (ISSP)</a:t>
                      </a:r>
                      <a:endParaRPr lang="en-US" sz="130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t>Security Control Assessor</a:t>
                      </a:r>
                      <a:r>
                        <a:rPr lang="en-US" sz="1300" baseline="0" dirty="0" smtClean="0"/>
                        <a:t> (SCA)</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t>Customer, Government Contracting</a:t>
                      </a:r>
                      <a:r>
                        <a:rPr lang="en-US" sz="1300" baseline="0" dirty="0" smtClean="0"/>
                        <a:t> Activity (GCA)</a:t>
                      </a:r>
                      <a:endParaRPr lang="en-US" sz="130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t>Information Owner (IO)</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t>Contractor</a:t>
                      </a:r>
                      <a:endParaRPr lang="en-US" sz="130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t>Information System Owner</a:t>
                      </a:r>
                      <a:r>
                        <a:rPr lang="en-US" sz="1300" baseline="0" dirty="0" smtClean="0"/>
                        <a:t> (ISO)</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t>Information System</a:t>
                      </a:r>
                      <a:r>
                        <a:rPr lang="en-US" sz="1300" baseline="0" dirty="0" smtClean="0"/>
                        <a:t> Security Manager (ISSM)</a:t>
                      </a:r>
                      <a:endParaRPr lang="en-US" sz="130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t>ISSM</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t>Information System Security Officer (ISSO)</a:t>
                      </a:r>
                      <a:endParaRPr lang="en-US" sz="1300" dirty="0"/>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300" dirty="0" smtClean="0"/>
                        <a:t>ISSO</a:t>
                      </a:r>
                      <a:endParaRPr lang="en-US" sz="1300" dirty="0"/>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50"/>
          <p:cNvSpPr>
            <a:spLocks noChangeArrowheads="1"/>
          </p:cNvSpPr>
          <p:nvPr/>
        </p:nvSpPr>
        <p:spPr bwMode="gray">
          <a:xfrm>
            <a:off x="401639" y="994644"/>
            <a:ext cx="8343897" cy="470605"/>
          </a:xfrm>
          <a:prstGeom prst="rect">
            <a:avLst/>
          </a:prstGeom>
          <a:noFill/>
          <a:ln w="9525" algn="ctr">
            <a:noFill/>
            <a:miter lim="800000"/>
            <a:headEnd/>
            <a:tailEnd/>
          </a:ln>
          <a:effectLst/>
        </p:spPr>
        <p:txBody>
          <a:bodyPr wrap="square" lIns="0" tIns="0" rIns="0" bIns="0" anchor="t" anchorCtr="0"/>
          <a:lstStyle/>
          <a:p>
            <a:r>
              <a:rPr lang="en-US" sz="1400" dirty="0" smtClean="0">
                <a:solidFill>
                  <a:srgbClr val="000000"/>
                </a:solidFill>
              </a:rPr>
              <a:t>Many RMF stakeholder titles have been revised in the transition from C&amp;A. The following table outlines former terms in the C&amp;A process as well as the corresponding </a:t>
            </a:r>
            <a:r>
              <a:rPr lang="en-US" sz="1400" b="1" dirty="0" smtClean="0">
                <a:solidFill>
                  <a:srgbClr val="000000"/>
                </a:solidFill>
              </a:rPr>
              <a:t>new terms in the RMF process</a:t>
            </a:r>
            <a:r>
              <a:rPr lang="en-US" sz="1400" dirty="0" smtClean="0">
                <a:solidFill>
                  <a:srgbClr val="000000"/>
                </a:solidFill>
              </a:rPr>
              <a:t>. You may continue hearing both sets of terms during the transition to RMF. </a:t>
            </a:r>
            <a:endParaRPr lang="en-US" sz="1400" dirty="0">
              <a:solidFill>
                <a:srgbClr val="000000"/>
              </a:solidFill>
            </a:endParaRPr>
          </a:p>
        </p:txBody>
      </p:sp>
      <p:sp>
        <p:nvSpPr>
          <p:cNvPr id="6" name="Rectangle 50"/>
          <p:cNvSpPr>
            <a:spLocks noChangeArrowheads="1"/>
          </p:cNvSpPr>
          <p:nvPr/>
        </p:nvSpPr>
        <p:spPr bwMode="gray">
          <a:xfrm>
            <a:off x="3013620" y="6172948"/>
            <a:ext cx="3604303" cy="235303"/>
          </a:xfrm>
          <a:prstGeom prst="rect">
            <a:avLst/>
          </a:prstGeom>
          <a:noFill/>
          <a:ln w="9525" algn="ctr">
            <a:noFill/>
            <a:miter lim="800000"/>
            <a:headEnd/>
            <a:tailEnd/>
          </a:ln>
          <a:effectLst/>
        </p:spPr>
        <p:txBody>
          <a:bodyPr wrap="square" lIns="0" tIns="0" rIns="0" bIns="0" anchor="t" anchorCtr="0"/>
          <a:lstStyle/>
          <a:p>
            <a:r>
              <a:rPr lang="en-US" sz="1200" i="1" dirty="0" smtClean="0">
                <a:solidFill>
                  <a:srgbClr val="000000"/>
                </a:solidFill>
              </a:rPr>
              <a:t>*Titles will remain the same in RMF</a:t>
            </a:r>
            <a:r>
              <a:rPr lang="en-US" sz="1400" dirty="0" smtClean="0">
                <a:solidFill>
                  <a:srgbClr val="000000"/>
                </a:solidFill>
              </a:rPr>
              <a:t>.</a:t>
            </a:r>
            <a:endParaRPr lang="en-US" sz="1400" dirty="0">
              <a:solidFill>
                <a:srgbClr val="000000"/>
              </a:solidFill>
            </a:endParaRPr>
          </a:p>
        </p:txBody>
      </p:sp>
    </p:spTree>
    <p:extLst>
      <p:ext uri="{BB962C8B-B14F-4D97-AF65-F5344CB8AC3E}">
        <p14:creationId xmlns:p14="http://schemas.microsoft.com/office/powerpoint/2010/main" val="34749850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09424"/>
            <a:ext cx="6440951" cy="363689"/>
          </a:xfrm>
        </p:spPr>
        <p:txBody>
          <a:bodyPr/>
          <a:lstStyle/>
          <a:p>
            <a:r>
              <a:rPr lang="en-US" dirty="0" smtClean="0"/>
              <a:t>Connecting the Dots Old and New</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2480701318"/>
              </p:ext>
            </p:extLst>
          </p:nvPr>
        </p:nvGraphicFramePr>
        <p:xfrm>
          <a:off x="268941" y="1113184"/>
          <a:ext cx="8791932" cy="5103412"/>
        </p:xfrm>
        <a:graphic>
          <a:graphicData uri="http://schemas.openxmlformats.org/drawingml/2006/table">
            <a:tbl>
              <a:tblPr firstRow="1" bandRow="1"/>
              <a:tblGrid>
                <a:gridCol w="4868057"/>
                <a:gridCol w="1786316"/>
                <a:gridCol w="2137559"/>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Proces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C&amp;A</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RMF</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ODAA Business Management</a:t>
                      </a:r>
                      <a:r>
                        <a:rPr lang="en-US" sz="1800" baseline="0" dirty="0" smtClean="0"/>
                        <a:t> System (OBMS)</a:t>
                      </a:r>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SP</a:t>
                      </a:r>
                      <a:r>
                        <a:rPr lang="en-US" sz="1800" baseline="0" dirty="0" smtClean="0"/>
                        <a:t> Template</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Categorization</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Basic, Med, High</a:t>
                      </a:r>
                    </a:p>
                    <a:p>
                      <a:r>
                        <a:rPr lang="en-US" sz="1800" dirty="0" smtClean="0"/>
                        <a:t>PL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Low,</a:t>
                      </a:r>
                      <a:r>
                        <a:rPr lang="en-US" sz="1800" baseline="0" dirty="0" smtClean="0"/>
                        <a:t> Mod, High</a:t>
                      </a:r>
                    </a:p>
                    <a:p>
                      <a:r>
                        <a:rPr lang="en-US" sz="1800" dirty="0" smtClean="0"/>
                        <a:t>Accessibility</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Certification</a:t>
                      </a:r>
                      <a:r>
                        <a:rPr lang="en-US" sz="1800" baseline="0" dirty="0" smtClean="0"/>
                        <a:t> Statement</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ame</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Risk</a:t>
                      </a:r>
                      <a:r>
                        <a:rPr lang="en-US" sz="1800" baseline="0" dirty="0" smtClean="0"/>
                        <a:t> Acknowledgement/Tailoring-out</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Risk</a:t>
                      </a:r>
                      <a:r>
                        <a:rPr lang="en-US" sz="1800" baseline="0" dirty="0" smtClean="0"/>
                        <a:t> </a:t>
                      </a:r>
                    </a:p>
                    <a:p>
                      <a:r>
                        <a:rPr lang="en-US" sz="1800" baseline="0" dirty="0" smtClean="0"/>
                        <a:t>Acknowledged</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Tailored-Out/Risk</a:t>
                      </a:r>
                      <a:r>
                        <a:rPr lang="en-US" sz="1800" baseline="0" dirty="0" smtClean="0"/>
                        <a:t> Acknowledgement</a:t>
                      </a:r>
                      <a:endParaRPr lang="en-US" sz="1800" dirty="0" smtClean="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MOU/Enhancement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MOU</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MOU/ISA</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tanding-Up Like System</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elf-</a:t>
                      </a:r>
                      <a:br>
                        <a:rPr lang="en-US" sz="1800" dirty="0" smtClean="0"/>
                      </a:br>
                      <a:r>
                        <a:rPr lang="en-US" sz="1800" dirty="0" smtClean="0"/>
                        <a:t>Certification</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Type</a:t>
                      </a:r>
                    </a:p>
                    <a:p>
                      <a:r>
                        <a:rPr lang="en-US" sz="1800" dirty="0" smtClean="0"/>
                        <a:t>Authorization</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Control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NISPOM</a:t>
                      </a:r>
                      <a:r>
                        <a:rPr lang="en-US" sz="1800" baseline="0" dirty="0" smtClean="0"/>
                        <a:t> Ref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NIST Control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Approval</a:t>
                      </a:r>
                      <a:r>
                        <a:rPr lang="en-US" sz="1800" baseline="0" dirty="0" smtClean="0"/>
                        <a:t> to Proces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Accreditation</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Authorization</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bl>
          </a:graphicData>
        </a:graphic>
      </p:graphicFrame>
    </p:spTree>
    <p:extLst>
      <p:ext uri="{BB962C8B-B14F-4D97-AF65-F5344CB8AC3E}">
        <p14:creationId xmlns:p14="http://schemas.microsoft.com/office/powerpoint/2010/main" val="3668277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381596"/>
            <a:ext cx="6440951" cy="391517"/>
          </a:xfrm>
        </p:spPr>
        <p:txBody>
          <a:bodyPr/>
          <a:lstStyle/>
          <a:p>
            <a:r>
              <a:rPr lang="en-US" dirty="0" smtClean="0"/>
              <a:t>Connecting the Dots Cont.</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3117408918"/>
              </p:ext>
            </p:extLst>
          </p:nvPr>
        </p:nvGraphicFramePr>
        <p:xfrm>
          <a:off x="162560" y="1510748"/>
          <a:ext cx="8726608" cy="4625892"/>
        </p:xfrm>
        <a:graphic>
          <a:graphicData uri="http://schemas.openxmlformats.org/drawingml/2006/table">
            <a:tbl>
              <a:tblPr firstRow="1" bandRow="1"/>
              <a:tblGrid>
                <a:gridCol w="2597689"/>
                <a:gridCol w="3044165"/>
                <a:gridCol w="3084754"/>
              </a:tblGrid>
              <a:tr h="577897">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Proces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C&amp;A</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t>RMF</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2311591">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ubmission Validation</a:t>
                      </a:r>
                      <a:r>
                        <a:rPr lang="en-US" sz="1800" baseline="0" dirty="0" smtClean="0"/>
                        <a:t> within OBMS</a:t>
                      </a:r>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SP</a:t>
                      </a:r>
                    </a:p>
                    <a:p>
                      <a:r>
                        <a:rPr lang="en-US" sz="1800" dirty="0" smtClean="0"/>
                        <a:t>Certification</a:t>
                      </a:r>
                      <a:r>
                        <a:rPr lang="en-US" sz="1800" baseline="0" dirty="0" smtClean="0"/>
                        <a:t> Statement</a:t>
                      </a:r>
                    </a:p>
                    <a:p>
                      <a:r>
                        <a:rPr lang="en-US" sz="1800" baseline="0" dirty="0" smtClean="0"/>
                        <a:t>Profile</a:t>
                      </a:r>
                    </a:p>
                    <a:p>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SP</a:t>
                      </a:r>
                    </a:p>
                    <a:p>
                      <a:r>
                        <a:rPr lang="en-US" sz="1800" dirty="0" smtClean="0"/>
                        <a:t>Certification</a:t>
                      </a:r>
                      <a:r>
                        <a:rPr lang="en-US" sz="1800" baseline="0" dirty="0" smtClean="0"/>
                        <a:t> Statement</a:t>
                      </a:r>
                    </a:p>
                    <a:p>
                      <a:r>
                        <a:rPr lang="en-US" sz="1800" baseline="0" dirty="0" smtClean="0"/>
                        <a:t>POAM </a:t>
                      </a:r>
                    </a:p>
                    <a:p>
                      <a:r>
                        <a:rPr lang="en-US" sz="1800" baseline="0" dirty="0" smtClean="0"/>
                        <a:t>Risk Assessment Report </a:t>
                      </a:r>
                      <a:endParaRPr lang="en-US" sz="18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725082">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1011322">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Assessment Comments on issues</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Comments Form</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t>Security Assessment Report</a:t>
                      </a:r>
                      <a:r>
                        <a:rPr lang="en-US" sz="1800" baseline="0" dirty="0" smtClean="0"/>
                        <a:t> (SAR)</a:t>
                      </a:r>
                      <a:endParaRPr lang="en-US" sz="18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bl>
          </a:graphicData>
        </a:graphic>
      </p:graphicFrame>
    </p:spTree>
    <p:extLst>
      <p:ext uri="{BB962C8B-B14F-4D97-AF65-F5344CB8AC3E}">
        <p14:creationId xmlns:p14="http://schemas.microsoft.com/office/powerpoint/2010/main" val="15830532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p:cNvSpPr>
            <a:spLocks noGrp="1"/>
          </p:cNvSpPr>
          <p:nvPr>
            <p:ph type="title"/>
          </p:nvPr>
        </p:nvSpPr>
        <p:spPr>
          <a:xfrm>
            <a:off x="401639" y="440714"/>
            <a:ext cx="6533418" cy="332399"/>
          </a:xfrm>
        </p:spPr>
        <p:txBody>
          <a:bodyPr/>
          <a:lstStyle/>
          <a:p>
            <a:pPr>
              <a:lnSpc>
                <a:spcPct val="90000"/>
              </a:lnSpc>
            </a:pPr>
            <a:r>
              <a:rPr lang="en-US" dirty="0" smtClean="0"/>
              <a:t>Key Factors Driving the Transition to RMF</a:t>
            </a:r>
            <a:endParaRPr lang="en-US" dirty="0"/>
          </a:p>
        </p:txBody>
      </p:sp>
      <p:sp>
        <p:nvSpPr>
          <p:cNvPr id="46" name="Freeform 45"/>
          <p:cNvSpPr/>
          <p:nvPr/>
        </p:nvSpPr>
        <p:spPr bwMode="gray">
          <a:xfrm>
            <a:off x="638255" y="156565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47" name="Rectangle 46"/>
          <p:cNvSpPr/>
          <p:nvPr/>
        </p:nvSpPr>
        <p:spPr>
          <a:xfrm>
            <a:off x="638255" y="1598446"/>
            <a:ext cx="1828800" cy="1038746"/>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a:t>Shift from a static, “</a:t>
            </a:r>
            <a:r>
              <a:rPr lang="en-US" sz="1250" dirty="0" smtClean="0"/>
              <a:t>check-the-box</a:t>
            </a:r>
            <a:r>
              <a:rPr lang="en-US" sz="1250" dirty="0"/>
              <a:t>” mentality to a flexible, dynamic approach to assess and manage risk more effectively and </a:t>
            </a:r>
            <a:r>
              <a:rPr lang="en-US" sz="1250" dirty="0" smtClean="0"/>
              <a:t>efficiently.</a:t>
            </a:r>
            <a:endParaRPr lang="en-US" sz="1250" dirty="0"/>
          </a:p>
        </p:txBody>
      </p:sp>
      <p:sp>
        <p:nvSpPr>
          <p:cNvPr id="48" name="Rectangle 47"/>
          <p:cNvSpPr/>
          <p:nvPr/>
        </p:nvSpPr>
        <p:spPr>
          <a:xfrm>
            <a:off x="638255" y="1166642"/>
            <a:ext cx="1828800" cy="384721"/>
          </a:xfrm>
          <a:prstGeom prst="rect">
            <a:avLst/>
          </a:prstGeom>
        </p:spPr>
        <p:txBody>
          <a:bodyPr wrap="square" lIns="0" tIns="0" rIns="0" bIns="0">
            <a:spAutoFit/>
          </a:bodyPr>
          <a:lstStyle/>
          <a:p>
            <a:r>
              <a:rPr lang="en-US" sz="1250" b="1" dirty="0" smtClean="0"/>
              <a:t>Effective and Efficient Risk Management</a:t>
            </a:r>
            <a:endParaRPr lang="en-US" sz="1250" dirty="0"/>
          </a:p>
        </p:txBody>
      </p:sp>
      <p:sp>
        <p:nvSpPr>
          <p:cNvPr id="49" name="Freeform 48"/>
          <p:cNvSpPr/>
          <p:nvPr/>
        </p:nvSpPr>
        <p:spPr bwMode="gray">
          <a:xfrm flipH="1">
            <a:off x="6152358" y="1893834"/>
            <a:ext cx="2500741" cy="50414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0" name="Rectangle 49"/>
          <p:cNvSpPr/>
          <p:nvPr/>
        </p:nvSpPr>
        <p:spPr>
          <a:xfrm>
            <a:off x="6816342" y="5284993"/>
            <a:ext cx="1828800" cy="1211870"/>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smtClean="0"/>
              <a:t>Streamline DSS processes to support the authorization of a cleared contractor’s IS processing classified information as part of the NISP.</a:t>
            </a:r>
            <a:endParaRPr lang="en-US" sz="1250" dirty="0"/>
          </a:p>
        </p:txBody>
      </p:sp>
      <p:sp>
        <p:nvSpPr>
          <p:cNvPr id="51" name="Rectangle 50"/>
          <p:cNvSpPr/>
          <p:nvPr/>
        </p:nvSpPr>
        <p:spPr>
          <a:xfrm>
            <a:off x="6824300" y="1494823"/>
            <a:ext cx="1828800" cy="384721"/>
          </a:xfrm>
          <a:prstGeom prst="rect">
            <a:avLst/>
          </a:prstGeom>
        </p:spPr>
        <p:txBody>
          <a:bodyPr wrap="square" lIns="0" tIns="0" rIns="0" bIns="0">
            <a:spAutoFit/>
          </a:bodyPr>
          <a:lstStyle/>
          <a:p>
            <a:r>
              <a:rPr lang="en-US" sz="1250" b="1" dirty="0" smtClean="0"/>
              <a:t>Common Foundation for Information Security</a:t>
            </a:r>
            <a:endParaRPr lang="en-US" sz="1250" dirty="0"/>
          </a:p>
        </p:txBody>
      </p:sp>
      <p:sp>
        <p:nvSpPr>
          <p:cNvPr id="52" name="Freeform 51"/>
          <p:cNvSpPr/>
          <p:nvPr/>
        </p:nvSpPr>
        <p:spPr bwMode="gray">
          <a:xfrm flipV="1">
            <a:off x="334563" y="4351064"/>
            <a:ext cx="1920956" cy="16888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3" name="Rectangle 52"/>
          <p:cNvSpPr/>
          <p:nvPr/>
        </p:nvSpPr>
        <p:spPr>
          <a:xfrm>
            <a:off x="334562" y="4563648"/>
            <a:ext cx="1844988" cy="1731243"/>
          </a:xfrm>
          <a:prstGeom prst="rect">
            <a:avLst/>
          </a:prstGeom>
        </p:spPr>
        <p:txBody>
          <a:bodyPr wrap="square" lIns="0" tIns="0" rIns="0" bIns="0">
            <a:spAutoFit/>
          </a:bodyPr>
          <a:lstStyle/>
          <a:p>
            <a:pPr lvl="0"/>
            <a:r>
              <a:rPr lang="en-US" sz="1250" dirty="0" smtClean="0"/>
              <a:t>Build reciprocity with other federal agencies to develop trust across the federal government through a more holistic, flexible, and strategic process for the risk management of IT systems.</a:t>
            </a:r>
            <a:endParaRPr lang="en-US" sz="1250" dirty="0">
              <a:solidFill>
                <a:schemeClr val="tx2"/>
              </a:solidFill>
            </a:endParaRPr>
          </a:p>
        </p:txBody>
      </p:sp>
      <p:sp>
        <p:nvSpPr>
          <p:cNvPr id="54" name="Rectangle 53"/>
          <p:cNvSpPr/>
          <p:nvPr/>
        </p:nvSpPr>
        <p:spPr>
          <a:xfrm>
            <a:off x="334562" y="4119492"/>
            <a:ext cx="1828800" cy="384721"/>
          </a:xfrm>
          <a:prstGeom prst="rect">
            <a:avLst/>
          </a:prstGeom>
        </p:spPr>
        <p:txBody>
          <a:bodyPr wrap="square" lIns="0" tIns="0" rIns="0" bIns="0">
            <a:spAutoFit/>
          </a:bodyPr>
          <a:lstStyle/>
          <a:p>
            <a:r>
              <a:rPr lang="en-US" sz="1250" b="1" dirty="0" smtClean="0"/>
              <a:t>Trust Across the Federal Government</a:t>
            </a:r>
            <a:endParaRPr lang="en-US" sz="1250" dirty="0"/>
          </a:p>
        </p:txBody>
      </p:sp>
      <p:sp>
        <p:nvSpPr>
          <p:cNvPr id="55" name="Freeform 54"/>
          <p:cNvSpPr/>
          <p:nvPr/>
        </p:nvSpPr>
        <p:spPr bwMode="gray">
          <a:xfrm flipH="1" flipV="1">
            <a:off x="5946701" y="4787491"/>
            <a:ext cx="2706398" cy="46681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6" name="Rectangle 55"/>
          <p:cNvSpPr/>
          <p:nvPr/>
        </p:nvSpPr>
        <p:spPr>
          <a:xfrm>
            <a:off x="6832257" y="1940857"/>
            <a:ext cx="1828800" cy="1904367"/>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a:t>Implement a common foundation for information security that aligns to federal government standards for DSS and cleared contractors for a more uniform and consistent approach to manage risk associated with </a:t>
            </a:r>
            <a:r>
              <a:rPr lang="en-US" sz="1250" dirty="0" smtClean="0"/>
              <a:t>the operation </a:t>
            </a:r>
            <a:r>
              <a:rPr lang="en-US" sz="1250" dirty="0"/>
              <a:t>of </a:t>
            </a:r>
            <a:r>
              <a:rPr lang="en-US" sz="1250" dirty="0" smtClean="0"/>
              <a:t>a classified IS.</a:t>
            </a:r>
            <a:endParaRPr lang="en-US" sz="1250" dirty="0"/>
          </a:p>
        </p:txBody>
      </p:sp>
      <p:sp>
        <p:nvSpPr>
          <p:cNvPr id="57" name="Rectangle 56"/>
          <p:cNvSpPr/>
          <p:nvPr/>
        </p:nvSpPr>
        <p:spPr>
          <a:xfrm>
            <a:off x="6824299" y="4854719"/>
            <a:ext cx="1828800" cy="384721"/>
          </a:xfrm>
          <a:prstGeom prst="rect">
            <a:avLst/>
          </a:prstGeom>
        </p:spPr>
        <p:txBody>
          <a:bodyPr wrap="square" lIns="0" tIns="0" rIns="0" bIns="0">
            <a:spAutoFit/>
          </a:bodyPr>
          <a:lstStyle/>
          <a:p>
            <a:r>
              <a:rPr lang="en-US" sz="1250" b="1" dirty="0" smtClean="0"/>
              <a:t>Streamline DSS processes</a:t>
            </a:r>
            <a:endParaRPr lang="en-US" sz="1250" dirty="0"/>
          </a:p>
        </p:txBody>
      </p:sp>
      <p:grpSp>
        <p:nvGrpSpPr>
          <p:cNvPr id="2" name="Group 1"/>
          <p:cNvGrpSpPr/>
          <p:nvPr/>
        </p:nvGrpSpPr>
        <p:grpSpPr>
          <a:xfrm>
            <a:off x="2180212" y="1357360"/>
            <a:ext cx="4267857" cy="4216126"/>
            <a:chOff x="2180212" y="1357360"/>
            <a:chExt cx="4524758" cy="4450250"/>
          </a:xfrm>
        </p:grpSpPr>
        <p:sp>
          <p:nvSpPr>
            <p:cNvPr id="58" name="Oval 57"/>
            <p:cNvSpPr/>
            <p:nvPr/>
          </p:nvSpPr>
          <p:spPr>
            <a:xfrm>
              <a:off x="4799633" y="176316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59" name="Oval 58"/>
            <p:cNvSpPr>
              <a:spLocks noChangeAspect="1"/>
            </p:cNvSpPr>
            <p:nvPr/>
          </p:nvSpPr>
          <p:spPr>
            <a:xfrm>
              <a:off x="4860774" y="182431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0" name="Oval 59"/>
            <p:cNvSpPr/>
            <p:nvPr/>
          </p:nvSpPr>
          <p:spPr>
            <a:xfrm>
              <a:off x="4742484" y="3902273"/>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1" name="Oval 60"/>
            <p:cNvSpPr>
              <a:spLocks noChangeAspect="1"/>
            </p:cNvSpPr>
            <p:nvPr/>
          </p:nvSpPr>
          <p:spPr>
            <a:xfrm>
              <a:off x="4803625" y="3963414"/>
              <a:ext cx="1783054" cy="1783054"/>
            </a:xfrm>
            <a:prstGeom prst="ellipse">
              <a:avLst/>
            </a:prstGeom>
            <a:solidFill>
              <a:srgbClr val="69D8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2" name="Oval 61"/>
            <p:cNvSpPr/>
            <p:nvPr/>
          </p:nvSpPr>
          <p:spPr>
            <a:xfrm>
              <a:off x="2180212" y="341851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3" name="Oval 62"/>
            <p:cNvSpPr>
              <a:spLocks noChangeAspect="1"/>
            </p:cNvSpPr>
            <p:nvPr/>
          </p:nvSpPr>
          <p:spPr>
            <a:xfrm>
              <a:off x="2241353" y="3479658"/>
              <a:ext cx="1783054" cy="1783054"/>
            </a:xfrm>
            <a:prstGeom prst="ellipse">
              <a:avLst/>
            </a:prstGeom>
            <a:solidFill>
              <a:schemeClr val="accent1">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4" name="Oval 63"/>
            <p:cNvSpPr/>
            <p:nvPr/>
          </p:nvSpPr>
          <p:spPr>
            <a:xfrm>
              <a:off x="2625328" y="13573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5" name="Oval 64"/>
            <p:cNvSpPr>
              <a:spLocks noChangeAspect="1"/>
            </p:cNvSpPr>
            <p:nvPr/>
          </p:nvSpPr>
          <p:spPr>
            <a:xfrm>
              <a:off x="2686470" y="1418502"/>
              <a:ext cx="1783054" cy="1783054"/>
            </a:xfrm>
            <a:prstGeom prst="ellipse">
              <a:avLst/>
            </a:prstGeom>
            <a:solidFill>
              <a:schemeClr val="bg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6" name="Oval 65"/>
            <p:cNvSpPr/>
            <p:nvPr/>
          </p:nvSpPr>
          <p:spPr>
            <a:xfrm>
              <a:off x="3045435" y="217032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7" name="Oval 66"/>
            <p:cNvSpPr>
              <a:spLocks noChangeAspect="1"/>
            </p:cNvSpPr>
            <p:nvPr/>
          </p:nvSpPr>
          <p:spPr>
            <a:xfrm>
              <a:off x="3143436" y="2268330"/>
              <a:ext cx="2858007" cy="2858007"/>
            </a:xfrm>
            <a:prstGeom prst="ellipse">
              <a:avLst/>
            </a:prstGeom>
            <a:solidFill>
              <a:schemeClr val="accent5">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8" name="Rectangle 67"/>
            <p:cNvSpPr/>
            <p:nvPr/>
          </p:nvSpPr>
          <p:spPr>
            <a:xfrm>
              <a:off x="3638626" y="3128818"/>
              <a:ext cx="2103120" cy="1137037"/>
            </a:xfrm>
            <a:prstGeom prst="rect">
              <a:avLst/>
            </a:prstGeom>
          </p:spPr>
          <p:txBody>
            <a:bodyPr wrap="square" lIns="0" tIns="0" rIns="0" bIns="0" anchor="ctr" anchorCtr="0">
              <a:spAutoFit/>
            </a:bodyPr>
            <a:lstStyle/>
            <a:p>
              <a:pPr>
                <a:spcBef>
                  <a:spcPts val="400"/>
                </a:spcBef>
              </a:pPr>
              <a:r>
                <a:rPr lang="en-US" sz="1400" b="1" dirty="0" smtClean="0"/>
                <a:t>DSS </a:t>
              </a:r>
              <a:r>
                <a:rPr lang="en-US" sz="1400" b="1" dirty="0"/>
                <a:t>is implementing the RMF </a:t>
              </a:r>
              <a:r>
                <a:rPr lang="en-US" sz="1400" b="1" dirty="0" smtClean="0"/>
                <a:t>process to assess </a:t>
              </a:r>
              <a:r>
                <a:rPr lang="en-US" sz="1400" b="1" dirty="0"/>
                <a:t>and </a:t>
              </a:r>
              <a:r>
                <a:rPr lang="en-US" sz="1400" b="1" dirty="0" smtClean="0"/>
                <a:t>authorize Information </a:t>
              </a:r>
              <a:r>
                <a:rPr lang="en-US" sz="1400" b="1" dirty="0"/>
                <a:t>S</a:t>
              </a:r>
              <a:r>
                <a:rPr lang="en-US" sz="1400" b="1" dirty="0" smtClean="0"/>
                <a:t>ystems </a:t>
              </a:r>
              <a:r>
                <a:rPr lang="en-US" sz="1400" b="1" dirty="0"/>
                <a:t>(IS).</a:t>
              </a:r>
            </a:p>
          </p:txBody>
        </p:sp>
        <p:grpSp>
          <p:nvGrpSpPr>
            <p:cNvPr id="34" name="Group 33"/>
            <p:cNvGrpSpPr/>
            <p:nvPr/>
          </p:nvGrpSpPr>
          <p:grpSpPr>
            <a:xfrm>
              <a:off x="2334029" y="4251955"/>
              <a:ext cx="826550" cy="673882"/>
              <a:chOff x="4027488" y="2170113"/>
              <a:chExt cx="1100137" cy="896937"/>
            </a:xfrm>
            <a:solidFill>
              <a:schemeClr val="bg1"/>
            </a:solidFill>
          </p:grpSpPr>
          <p:sp>
            <p:nvSpPr>
              <p:cNvPr id="35" name="Freeform 55"/>
              <p:cNvSpPr>
                <a:spLocks/>
              </p:cNvSpPr>
              <p:nvPr/>
            </p:nvSpPr>
            <p:spPr bwMode="auto">
              <a:xfrm>
                <a:off x="4198938" y="2338388"/>
                <a:ext cx="741362" cy="728662"/>
              </a:xfrm>
              <a:custGeom>
                <a:avLst/>
                <a:gdLst>
                  <a:gd name="T0" fmla="*/ 163 w 229"/>
                  <a:gd name="T1" fmla="*/ 8 h 225"/>
                  <a:gd name="T2" fmla="*/ 161 w 229"/>
                  <a:gd name="T3" fmla="*/ 8 h 225"/>
                  <a:gd name="T4" fmla="*/ 152 w 229"/>
                  <a:gd name="T5" fmla="*/ 10 h 225"/>
                  <a:gd name="T6" fmla="*/ 122 w 229"/>
                  <a:gd name="T7" fmla="*/ 19 h 225"/>
                  <a:gd name="T8" fmla="*/ 81 w 229"/>
                  <a:gd name="T9" fmla="*/ 0 h 225"/>
                  <a:gd name="T10" fmla="*/ 113 w 229"/>
                  <a:gd name="T11" fmla="*/ 26 h 225"/>
                  <a:gd name="T12" fmla="*/ 55 w 229"/>
                  <a:gd name="T13" fmla="*/ 85 h 225"/>
                  <a:gd name="T14" fmla="*/ 59 w 229"/>
                  <a:gd name="T15" fmla="*/ 105 h 225"/>
                  <a:gd name="T16" fmla="*/ 83 w 229"/>
                  <a:gd name="T17" fmla="*/ 97 h 225"/>
                  <a:gd name="T18" fmla="*/ 100 w 229"/>
                  <a:gd name="T19" fmla="*/ 84 h 225"/>
                  <a:gd name="T20" fmla="*/ 140 w 229"/>
                  <a:gd name="T21" fmla="*/ 76 h 225"/>
                  <a:gd name="T22" fmla="*/ 193 w 229"/>
                  <a:gd name="T23" fmla="*/ 128 h 225"/>
                  <a:gd name="T24" fmla="*/ 207 w 229"/>
                  <a:gd name="T25" fmla="*/ 147 h 225"/>
                  <a:gd name="T26" fmla="*/ 203 w 229"/>
                  <a:gd name="T27" fmla="*/ 156 h 225"/>
                  <a:gd name="T28" fmla="*/ 196 w 229"/>
                  <a:gd name="T29" fmla="*/ 159 h 225"/>
                  <a:gd name="T30" fmla="*/ 164 w 229"/>
                  <a:gd name="T31" fmla="*/ 135 h 225"/>
                  <a:gd name="T32" fmla="*/ 189 w 229"/>
                  <a:gd name="T33" fmla="*/ 168 h 225"/>
                  <a:gd name="T34" fmla="*/ 184 w 229"/>
                  <a:gd name="T35" fmla="*/ 175 h 225"/>
                  <a:gd name="T36" fmla="*/ 178 w 229"/>
                  <a:gd name="T37" fmla="*/ 178 h 225"/>
                  <a:gd name="T38" fmla="*/ 146 w 229"/>
                  <a:gd name="T39" fmla="*/ 153 h 225"/>
                  <a:gd name="T40" fmla="*/ 171 w 229"/>
                  <a:gd name="T41" fmla="*/ 186 h 225"/>
                  <a:gd name="T42" fmla="*/ 167 w 229"/>
                  <a:gd name="T43" fmla="*/ 193 h 225"/>
                  <a:gd name="T44" fmla="*/ 160 w 229"/>
                  <a:gd name="T45" fmla="*/ 196 h 225"/>
                  <a:gd name="T46" fmla="*/ 127 w 229"/>
                  <a:gd name="T47" fmla="*/ 171 h 225"/>
                  <a:gd name="T48" fmla="*/ 153 w 229"/>
                  <a:gd name="T49" fmla="*/ 204 h 225"/>
                  <a:gd name="T50" fmla="*/ 148 w 229"/>
                  <a:gd name="T51" fmla="*/ 211 h 225"/>
                  <a:gd name="T52" fmla="*/ 132 w 229"/>
                  <a:gd name="T53" fmla="*/ 211 h 225"/>
                  <a:gd name="T54" fmla="*/ 118 w 229"/>
                  <a:gd name="T55" fmla="*/ 198 h 225"/>
                  <a:gd name="T56" fmla="*/ 118 w 229"/>
                  <a:gd name="T57" fmla="*/ 181 h 225"/>
                  <a:gd name="T58" fmla="*/ 103 w 229"/>
                  <a:gd name="T59" fmla="*/ 178 h 225"/>
                  <a:gd name="T60" fmla="*/ 99 w 229"/>
                  <a:gd name="T61" fmla="*/ 163 h 225"/>
                  <a:gd name="T62" fmla="*/ 84 w 229"/>
                  <a:gd name="T63" fmla="*/ 147 h 225"/>
                  <a:gd name="T64" fmla="*/ 68 w 229"/>
                  <a:gd name="T65" fmla="*/ 144 h 225"/>
                  <a:gd name="T66" fmla="*/ 65 w 229"/>
                  <a:gd name="T67" fmla="*/ 128 h 225"/>
                  <a:gd name="T68" fmla="*/ 46 w 229"/>
                  <a:gd name="T69" fmla="*/ 131 h 225"/>
                  <a:gd name="T70" fmla="*/ 10 w 229"/>
                  <a:gd name="T71" fmla="*/ 72 h 225"/>
                  <a:gd name="T72" fmla="*/ 13 w 229"/>
                  <a:gd name="T73" fmla="*/ 112 h 225"/>
                  <a:gd name="T74" fmla="*/ 30 w 229"/>
                  <a:gd name="T75" fmla="*/ 147 h 225"/>
                  <a:gd name="T76" fmla="*/ 32 w 229"/>
                  <a:gd name="T77" fmla="*/ 165 h 225"/>
                  <a:gd name="T78" fmla="*/ 47 w 229"/>
                  <a:gd name="T79" fmla="*/ 181 h 225"/>
                  <a:gd name="T80" fmla="*/ 63 w 229"/>
                  <a:gd name="T81" fmla="*/ 184 h 225"/>
                  <a:gd name="T82" fmla="*/ 66 w 229"/>
                  <a:gd name="T83" fmla="*/ 199 h 225"/>
                  <a:gd name="T84" fmla="*/ 82 w 229"/>
                  <a:gd name="T85" fmla="*/ 215 h 225"/>
                  <a:gd name="T86" fmla="*/ 99 w 229"/>
                  <a:gd name="T87" fmla="*/ 216 h 225"/>
                  <a:gd name="T88" fmla="*/ 125 w 229"/>
                  <a:gd name="T89" fmla="*/ 219 h 225"/>
                  <a:gd name="T90" fmla="*/ 156 w 229"/>
                  <a:gd name="T91" fmla="*/ 219 h 225"/>
                  <a:gd name="T92" fmla="*/ 163 w 229"/>
                  <a:gd name="T93" fmla="*/ 207 h 225"/>
                  <a:gd name="T94" fmla="*/ 176 w 229"/>
                  <a:gd name="T95" fmla="*/ 199 h 225"/>
                  <a:gd name="T96" fmla="*/ 192 w 229"/>
                  <a:gd name="T97" fmla="*/ 183 h 225"/>
                  <a:gd name="T98" fmla="*/ 200 w 229"/>
                  <a:gd name="T99" fmla="*/ 170 h 225"/>
                  <a:gd name="T100" fmla="*/ 212 w 229"/>
                  <a:gd name="T101" fmla="*/ 163 h 225"/>
                  <a:gd name="T102" fmla="*/ 212 w 229"/>
                  <a:gd name="T103" fmla="*/ 131 h 225"/>
                  <a:gd name="T104" fmla="*/ 205 w 229"/>
                  <a:gd name="T105" fmla="*/ 124 h 225"/>
                  <a:gd name="T106" fmla="*/ 161 w 229"/>
                  <a:gd name="T107" fmla="*/ 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 h="225">
                    <a:moveTo>
                      <a:pt x="161" y="8"/>
                    </a:moveTo>
                    <a:cubicBezTo>
                      <a:pt x="162" y="8"/>
                      <a:pt x="162" y="8"/>
                      <a:pt x="163" y="8"/>
                    </a:cubicBezTo>
                    <a:cubicBezTo>
                      <a:pt x="162" y="8"/>
                      <a:pt x="162" y="8"/>
                      <a:pt x="161" y="8"/>
                    </a:cubicBezTo>
                    <a:cubicBezTo>
                      <a:pt x="161" y="8"/>
                      <a:pt x="161" y="8"/>
                      <a:pt x="161" y="8"/>
                    </a:cubicBezTo>
                    <a:cubicBezTo>
                      <a:pt x="160" y="8"/>
                      <a:pt x="160" y="8"/>
                      <a:pt x="160" y="8"/>
                    </a:cubicBezTo>
                    <a:cubicBezTo>
                      <a:pt x="158" y="8"/>
                      <a:pt x="155" y="9"/>
                      <a:pt x="152" y="10"/>
                    </a:cubicBezTo>
                    <a:cubicBezTo>
                      <a:pt x="132" y="14"/>
                      <a:pt x="132" y="14"/>
                      <a:pt x="132" y="14"/>
                    </a:cubicBezTo>
                    <a:cubicBezTo>
                      <a:pt x="129" y="15"/>
                      <a:pt x="125" y="17"/>
                      <a:pt x="122" y="19"/>
                    </a:cubicBezTo>
                    <a:cubicBezTo>
                      <a:pt x="121" y="19"/>
                      <a:pt x="121" y="18"/>
                      <a:pt x="120" y="18"/>
                    </a:cubicBezTo>
                    <a:cubicBezTo>
                      <a:pt x="109" y="9"/>
                      <a:pt x="95" y="3"/>
                      <a:pt x="81" y="0"/>
                    </a:cubicBezTo>
                    <a:cubicBezTo>
                      <a:pt x="71" y="11"/>
                      <a:pt x="71" y="11"/>
                      <a:pt x="71" y="11"/>
                    </a:cubicBezTo>
                    <a:cubicBezTo>
                      <a:pt x="86" y="11"/>
                      <a:pt x="102" y="17"/>
                      <a:pt x="113" y="26"/>
                    </a:cubicBezTo>
                    <a:cubicBezTo>
                      <a:pt x="113" y="27"/>
                      <a:pt x="113" y="27"/>
                      <a:pt x="113" y="27"/>
                    </a:cubicBezTo>
                    <a:cubicBezTo>
                      <a:pt x="55" y="85"/>
                      <a:pt x="55" y="85"/>
                      <a:pt x="55" y="85"/>
                    </a:cubicBezTo>
                    <a:cubicBezTo>
                      <a:pt x="49" y="92"/>
                      <a:pt x="51" y="99"/>
                      <a:pt x="55" y="103"/>
                    </a:cubicBezTo>
                    <a:cubicBezTo>
                      <a:pt x="56" y="104"/>
                      <a:pt x="58" y="105"/>
                      <a:pt x="59" y="105"/>
                    </a:cubicBezTo>
                    <a:cubicBezTo>
                      <a:pt x="61" y="106"/>
                      <a:pt x="63" y="106"/>
                      <a:pt x="65" y="106"/>
                    </a:cubicBezTo>
                    <a:cubicBezTo>
                      <a:pt x="72" y="105"/>
                      <a:pt x="78" y="101"/>
                      <a:pt x="83" y="97"/>
                    </a:cubicBezTo>
                    <a:cubicBezTo>
                      <a:pt x="88" y="93"/>
                      <a:pt x="93" y="90"/>
                      <a:pt x="98" y="86"/>
                    </a:cubicBezTo>
                    <a:cubicBezTo>
                      <a:pt x="99" y="85"/>
                      <a:pt x="99" y="85"/>
                      <a:pt x="100" y="84"/>
                    </a:cubicBezTo>
                    <a:cubicBezTo>
                      <a:pt x="104" y="81"/>
                      <a:pt x="111" y="77"/>
                      <a:pt x="116" y="77"/>
                    </a:cubicBezTo>
                    <a:cubicBezTo>
                      <a:pt x="140" y="76"/>
                      <a:pt x="140" y="76"/>
                      <a:pt x="140" y="76"/>
                    </a:cubicBezTo>
                    <a:cubicBezTo>
                      <a:pt x="140" y="76"/>
                      <a:pt x="141" y="76"/>
                      <a:pt x="141" y="76"/>
                    </a:cubicBezTo>
                    <a:cubicBezTo>
                      <a:pt x="193" y="128"/>
                      <a:pt x="193" y="128"/>
                      <a:pt x="193" y="128"/>
                    </a:cubicBezTo>
                    <a:cubicBezTo>
                      <a:pt x="196" y="132"/>
                      <a:pt x="200" y="135"/>
                      <a:pt x="204" y="139"/>
                    </a:cubicBezTo>
                    <a:cubicBezTo>
                      <a:pt x="206" y="141"/>
                      <a:pt x="207" y="144"/>
                      <a:pt x="207" y="147"/>
                    </a:cubicBezTo>
                    <a:cubicBezTo>
                      <a:pt x="207" y="150"/>
                      <a:pt x="206" y="153"/>
                      <a:pt x="204" y="155"/>
                    </a:cubicBezTo>
                    <a:cubicBezTo>
                      <a:pt x="203" y="156"/>
                      <a:pt x="203" y="156"/>
                      <a:pt x="203" y="156"/>
                    </a:cubicBezTo>
                    <a:cubicBezTo>
                      <a:pt x="201" y="158"/>
                      <a:pt x="199" y="159"/>
                      <a:pt x="197" y="159"/>
                    </a:cubicBezTo>
                    <a:cubicBezTo>
                      <a:pt x="197" y="159"/>
                      <a:pt x="197" y="159"/>
                      <a:pt x="196" y="159"/>
                    </a:cubicBezTo>
                    <a:cubicBezTo>
                      <a:pt x="172" y="135"/>
                      <a:pt x="172" y="135"/>
                      <a:pt x="172" y="135"/>
                    </a:cubicBezTo>
                    <a:cubicBezTo>
                      <a:pt x="169" y="132"/>
                      <a:pt x="166" y="132"/>
                      <a:pt x="164" y="135"/>
                    </a:cubicBezTo>
                    <a:cubicBezTo>
                      <a:pt x="162" y="137"/>
                      <a:pt x="162" y="140"/>
                      <a:pt x="164" y="143"/>
                    </a:cubicBezTo>
                    <a:cubicBezTo>
                      <a:pt x="189" y="168"/>
                      <a:pt x="189" y="168"/>
                      <a:pt x="189" y="168"/>
                    </a:cubicBezTo>
                    <a:cubicBezTo>
                      <a:pt x="188" y="170"/>
                      <a:pt x="187" y="172"/>
                      <a:pt x="186" y="173"/>
                    </a:cubicBezTo>
                    <a:cubicBezTo>
                      <a:pt x="184" y="175"/>
                      <a:pt x="184" y="175"/>
                      <a:pt x="184" y="175"/>
                    </a:cubicBezTo>
                    <a:cubicBezTo>
                      <a:pt x="183" y="176"/>
                      <a:pt x="181" y="177"/>
                      <a:pt x="179" y="178"/>
                    </a:cubicBezTo>
                    <a:cubicBezTo>
                      <a:pt x="179" y="178"/>
                      <a:pt x="179" y="178"/>
                      <a:pt x="178" y="178"/>
                    </a:cubicBezTo>
                    <a:cubicBezTo>
                      <a:pt x="153" y="153"/>
                      <a:pt x="153" y="153"/>
                      <a:pt x="153" y="153"/>
                    </a:cubicBezTo>
                    <a:cubicBezTo>
                      <a:pt x="151" y="151"/>
                      <a:pt x="148" y="151"/>
                      <a:pt x="146" y="153"/>
                    </a:cubicBezTo>
                    <a:cubicBezTo>
                      <a:pt x="143" y="155"/>
                      <a:pt x="143" y="159"/>
                      <a:pt x="146" y="161"/>
                    </a:cubicBezTo>
                    <a:cubicBezTo>
                      <a:pt x="171" y="186"/>
                      <a:pt x="171" y="186"/>
                      <a:pt x="171" y="186"/>
                    </a:cubicBezTo>
                    <a:cubicBezTo>
                      <a:pt x="170" y="188"/>
                      <a:pt x="169" y="190"/>
                      <a:pt x="168" y="192"/>
                    </a:cubicBezTo>
                    <a:cubicBezTo>
                      <a:pt x="167" y="193"/>
                      <a:pt x="167" y="193"/>
                      <a:pt x="167" y="193"/>
                    </a:cubicBezTo>
                    <a:cubicBezTo>
                      <a:pt x="165" y="195"/>
                      <a:pt x="163" y="196"/>
                      <a:pt x="161" y="196"/>
                    </a:cubicBezTo>
                    <a:cubicBezTo>
                      <a:pt x="161" y="196"/>
                      <a:pt x="161" y="196"/>
                      <a:pt x="160" y="196"/>
                    </a:cubicBezTo>
                    <a:cubicBezTo>
                      <a:pt x="135" y="171"/>
                      <a:pt x="135" y="171"/>
                      <a:pt x="135" y="171"/>
                    </a:cubicBezTo>
                    <a:cubicBezTo>
                      <a:pt x="133" y="169"/>
                      <a:pt x="130" y="169"/>
                      <a:pt x="127" y="171"/>
                    </a:cubicBezTo>
                    <a:cubicBezTo>
                      <a:pt x="125" y="173"/>
                      <a:pt x="125" y="177"/>
                      <a:pt x="127" y="179"/>
                    </a:cubicBezTo>
                    <a:cubicBezTo>
                      <a:pt x="153" y="204"/>
                      <a:pt x="153" y="204"/>
                      <a:pt x="153" y="204"/>
                    </a:cubicBezTo>
                    <a:cubicBezTo>
                      <a:pt x="152" y="206"/>
                      <a:pt x="151" y="208"/>
                      <a:pt x="150" y="209"/>
                    </a:cubicBezTo>
                    <a:cubicBezTo>
                      <a:pt x="148" y="211"/>
                      <a:pt x="148" y="211"/>
                      <a:pt x="148" y="211"/>
                    </a:cubicBezTo>
                    <a:cubicBezTo>
                      <a:pt x="146" y="213"/>
                      <a:pt x="143" y="214"/>
                      <a:pt x="140" y="214"/>
                    </a:cubicBezTo>
                    <a:cubicBezTo>
                      <a:pt x="137" y="214"/>
                      <a:pt x="135" y="213"/>
                      <a:pt x="132" y="211"/>
                    </a:cubicBezTo>
                    <a:cubicBezTo>
                      <a:pt x="132" y="211"/>
                      <a:pt x="132" y="210"/>
                      <a:pt x="132" y="210"/>
                    </a:cubicBezTo>
                    <a:cubicBezTo>
                      <a:pt x="128" y="206"/>
                      <a:pt x="123" y="202"/>
                      <a:pt x="118" y="198"/>
                    </a:cubicBezTo>
                    <a:cubicBezTo>
                      <a:pt x="118" y="197"/>
                      <a:pt x="118" y="197"/>
                      <a:pt x="118" y="197"/>
                    </a:cubicBezTo>
                    <a:cubicBezTo>
                      <a:pt x="123" y="193"/>
                      <a:pt x="123" y="186"/>
                      <a:pt x="118" y="181"/>
                    </a:cubicBezTo>
                    <a:cubicBezTo>
                      <a:pt x="117" y="180"/>
                      <a:pt x="117" y="180"/>
                      <a:pt x="117" y="180"/>
                    </a:cubicBezTo>
                    <a:cubicBezTo>
                      <a:pt x="113" y="176"/>
                      <a:pt x="107" y="175"/>
                      <a:pt x="103" y="178"/>
                    </a:cubicBezTo>
                    <a:cubicBezTo>
                      <a:pt x="105" y="174"/>
                      <a:pt x="105" y="168"/>
                      <a:pt x="101" y="164"/>
                    </a:cubicBezTo>
                    <a:cubicBezTo>
                      <a:pt x="99" y="163"/>
                      <a:pt x="99" y="163"/>
                      <a:pt x="99" y="163"/>
                    </a:cubicBezTo>
                    <a:cubicBezTo>
                      <a:pt x="96" y="159"/>
                      <a:pt x="90" y="159"/>
                      <a:pt x="86" y="161"/>
                    </a:cubicBezTo>
                    <a:cubicBezTo>
                      <a:pt x="88" y="157"/>
                      <a:pt x="88" y="151"/>
                      <a:pt x="84" y="147"/>
                    </a:cubicBezTo>
                    <a:cubicBezTo>
                      <a:pt x="83" y="145"/>
                      <a:pt x="83" y="145"/>
                      <a:pt x="83" y="145"/>
                    </a:cubicBezTo>
                    <a:cubicBezTo>
                      <a:pt x="79" y="142"/>
                      <a:pt x="73" y="141"/>
                      <a:pt x="68" y="144"/>
                    </a:cubicBezTo>
                    <a:cubicBezTo>
                      <a:pt x="71" y="139"/>
                      <a:pt x="71" y="134"/>
                      <a:pt x="67" y="130"/>
                    </a:cubicBezTo>
                    <a:cubicBezTo>
                      <a:pt x="65" y="128"/>
                      <a:pt x="65" y="128"/>
                      <a:pt x="65" y="128"/>
                    </a:cubicBezTo>
                    <a:cubicBezTo>
                      <a:pt x="61" y="124"/>
                      <a:pt x="54" y="124"/>
                      <a:pt x="49" y="128"/>
                    </a:cubicBezTo>
                    <a:cubicBezTo>
                      <a:pt x="46" y="131"/>
                      <a:pt x="46" y="131"/>
                      <a:pt x="46" y="131"/>
                    </a:cubicBezTo>
                    <a:cubicBezTo>
                      <a:pt x="34" y="119"/>
                      <a:pt x="25" y="110"/>
                      <a:pt x="22" y="106"/>
                    </a:cubicBezTo>
                    <a:cubicBezTo>
                      <a:pt x="15" y="94"/>
                      <a:pt x="11" y="83"/>
                      <a:pt x="10" y="72"/>
                    </a:cubicBezTo>
                    <a:cubicBezTo>
                      <a:pt x="0" y="82"/>
                      <a:pt x="0" y="82"/>
                      <a:pt x="0" y="82"/>
                    </a:cubicBezTo>
                    <a:cubicBezTo>
                      <a:pt x="2" y="92"/>
                      <a:pt x="6" y="102"/>
                      <a:pt x="13" y="112"/>
                    </a:cubicBezTo>
                    <a:cubicBezTo>
                      <a:pt x="16" y="117"/>
                      <a:pt x="26" y="127"/>
                      <a:pt x="38" y="139"/>
                    </a:cubicBezTo>
                    <a:cubicBezTo>
                      <a:pt x="30" y="147"/>
                      <a:pt x="30" y="147"/>
                      <a:pt x="30" y="147"/>
                    </a:cubicBezTo>
                    <a:cubicBezTo>
                      <a:pt x="26" y="152"/>
                      <a:pt x="26" y="159"/>
                      <a:pt x="30" y="163"/>
                    </a:cubicBezTo>
                    <a:cubicBezTo>
                      <a:pt x="32" y="165"/>
                      <a:pt x="32" y="165"/>
                      <a:pt x="32" y="165"/>
                    </a:cubicBezTo>
                    <a:cubicBezTo>
                      <a:pt x="36" y="169"/>
                      <a:pt x="41" y="169"/>
                      <a:pt x="46" y="166"/>
                    </a:cubicBezTo>
                    <a:cubicBezTo>
                      <a:pt x="43" y="171"/>
                      <a:pt x="44" y="177"/>
                      <a:pt x="47" y="181"/>
                    </a:cubicBezTo>
                    <a:cubicBezTo>
                      <a:pt x="49" y="182"/>
                      <a:pt x="49" y="182"/>
                      <a:pt x="49" y="182"/>
                    </a:cubicBezTo>
                    <a:cubicBezTo>
                      <a:pt x="53" y="186"/>
                      <a:pt x="58" y="186"/>
                      <a:pt x="63" y="184"/>
                    </a:cubicBezTo>
                    <a:cubicBezTo>
                      <a:pt x="60" y="188"/>
                      <a:pt x="60" y="194"/>
                      <a:pt x="64" y="198"/>
                    </a:cubicBezTo>
                    <a:cubicBezTo>
                      <a:pt x="66" y="199"/>
                      <a:pt x="66" y="199"/>
                      <a:pt x="66" y="199"/>
                    </a:cubicBezTo>
                    <a:cubicBezTo>
                      <a:pt x="70" y="203"/>
                      <a:pt x="76" y="204"/>
                      <a:pt x="80" y="201"/>
                    </a:cubicBezTo>
                    <a:cubicBezTo>
                      <a:pt x="78" y="205"/>
                      <a:pt x="78" y="211"/>
                      <a:pt x="82" y="215"/>
                    </a:cubicBezTo>
                    <a:cubicBezTo>
                      <a:pt x="83" y="216"/>
                      <a:pt x="83" y="216"/>
                      <a:pt x="83" y="216"/>
                    </a:cubicBezTo>
                    <a:cubicBezTo>
                      <a:pt x="88" y="221"/>
                      <a:pt x="95" y="221"/>
                      <a:pt x="99" y="216"/>
                    </a:cubicBezTo>
                    <a:cubicBezTo>
                      <a:pt x="110" y="206"/>
                      <a:pt x="110" y="206"/>
                      <a:pt x="110" y="206"/>
                    </a:cubicBezTo>
                    <a:cubicBezTo>
                      <a:pt x="118" y="213"/>
                      <a:pt x="123" y="218"/>
                      <a:pt x="125" y="219"/>
                    </a:cubicBezTo>
                    <a:cubicBezTo>
                      <a:pt x="129" y="223"/>
                      <a:pt x="134" y="225"/>
                      <a:pt x="140" y="225"/>
                    </a:cubicBezTo>
                    <a:cubicBezTo>
                      <a:pt x="146" y="225"/>
                      <a:pt x="152" y="223"/>
                      <a:pt x="156" y="219"/>
                    </a:cubicBezTo>
                    <a:cubicBezTo>
                      <a:pt x="157" y="217"/>
                      <a:pt x="157" y="217"/>
                      <a:pt x="157" y="217"/>
                    </a:cubicBezTo>
                    <a:cubicBezTo>
                      <a:pt x="160" y="214"/>
                      <a:pt x="162" y="211"/>
                      <a:pt x="163" y="207"/>
                    </a:cubicBezTo>
                    <a:cubicBezTo>
                      <a:pt x="168" y="206"/>
                      <a:pt x="171" y="204"/>
                      <a:pt x="174" y="201"/>
                    </a:cubicBezTo>
                    <a:cubicBezTo>
                      <a:pt x="176" y="199"/>
                      <a:pt x="176" y="199"/>
                      <a:pt x="176" y="199"/>
                    </a:cubicBezTo>
                    <a:cubicBezTo>
                      <a:pt x="179" y="196"/>
                      <a:pt x="181" y="193"/>
                      <a:pt x="182" y="188"/>
                    </a:cubicBezTo>
                    <a:cubicBezTo>
                      <a:pt x="186" y="187"/>
                      <a:pt x="189" y="185"/>
                      <a:pt x="192" y="183"/>
                    </a:cubicBezTo>
                    <a:cubicBezTo>
                      <a:pt x="194" y="181"/>
                      <a:pt x="194" y="181"/>
                      <a:pt x="194" y="181"/>
                    </a:cubicBezTo>
                    <a:cubicBezTo>
                      <a:pt x="197" y="178"/>
                      <a:pt x="199" y="174"/>
                      <a:pt x="200" y="170"/>
                    </a:cubicBezTo>
                    <a:cubicBezTo>
                      <a:pt x="204" y="169"/>
                      <a:pt x="208" y="167"/>
                      <a:pt x="211" y="164"/>
                    </a:cubicBezTo>
                    <a:cubicBezTo>
                      <a:pt x="212" y="163"/>
                      <a:pt x="212" y="163"/>
                      <a:pt x="212" y="163"/>
                    </a:cubicBezTo>
                    <a:cubicBezTo>
                      <a:pt x="216" y="159"/>
                      <a:pt x="219" y="153"/>
                      <a:pt x="219" y="147"/>
                    </a:cubicBezTo>
                    <a:cubicBezTo>
                      <a:pt x="219" y="141"/>
                      <a:pt x="216" y="135"/>
                      <a:pt x="212" y="131"/>
                    </a:cubicBezTo>
                    <a:cubicBezTo>
                      <a:pt x="211" y="130"/>
                      <a:pt x="209" y="129"/>
                      <a:pt x="208" y="128"/>
                    </a:cubicBezTo>
                    <a:cubicBezTo>
                      <a:pt x="207" y="126"/>
                      <a:pt x="206" y="125"/>
                      <a:pt x="205" y="124"/>
                    </a:cubicBezTo>
                    <a:cubicBezTo>
                      <a:pt x="212" y="116"/>
                      <a:pt x="226" y="97"/>
                      <a:pt x="229" y="75"/>
                    </a:cubicBezTo>
                    <a:lnTo>
                      <a:pt x="16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6"/>
              <p:cNvSpPr>
                <a:spLocks/>
              </p:cNvSpPr>
              <p:nvPr/>
            </p:nvSpPr>
            <p:spPr bwMode="auto">
              <a:xfrm>
                <a:off x="4706938" y="2170113"/>
                <a:ext cx="420687" cy="423862"/>
              </a:xfrm>
              <a:custGeom>
                <a:avLst/>
                <a:gdLst>
                  <a:gd name="T0" fmla="*/ 128 w 130"/>
                  <a:gd name="T1" fmla="*/ 84 h 131"/>
                  <a:gd name="T2" fmla="*/ 46 w 130"/>
                  <a:gd name="T3" fmla="*/ 3 h 131"/>
                  <a:gd name="T4" fmla="*/ 37 w 130"/>
                  <a:gd name="T5" fmla="*/ 3 h 131"/>
                  <a:gd name="T6" fmla="*/ 2 w 130"/>
                  <a:gd name="T7" fmla="*/ 38 h 131"/>
                  <a:gd name="T8" fmla="*/ 2 w 130"/>
                  <a:gd name="T9" fmla="*/ 47 h 131"/>
                  <a:gd name="T10" fmla="*/ 3 w 130"/>
                  <a:gd name="T11" fmla="*/ 47 h 131"/>
                  <a:gd name="T12" fmla="*/ 17 w 130"/>
                  <a:gd name="T13" fmla="*/ 62 h 131"/>
                  <a:gd name="T14" fmla="*/ 71 w 130"/>
                  <a:gd name="T15" fmla="*/ 116 h 131"/>
                  <a:gd name="T16" fmla="*/ 84 w 130"/>
                  <a:gd name="T17" fmla="*/ 128 h 131"/>
                  <a:gd name="T18" fmla="*/ 93 w 130"/>
                  <a:gd name="T19" fmla="*/ 128 h 131"/>
                  <a:gd name="T20" fmla="*/ 128 w 130"/>
                  <a:gd name="T21" fmla="*/ 93 h 131"/>
                  <a:gd name="T22" fmla="*/ 128 w 130"/>
                  <a:gd name="T23" fmla="*/ 8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131">
                    <a:moveTo>
                      <a:pt x="128" y="84"/>
                    </a:moveTo>
                    <a:cubicBezTo>
                      <a:pt x="46" y="3"/>
                      <a:pt x="46" y="3"/>
                      <a:pt x="46" y="3"/>
                    </a:cubicBezTo>
                    <a:cubicBezTo>
                      <a:pt x="44" y="0"/>
                      <a:pt x="40" y="0"/>
                      <a:pt x="37" y="3"/>
                    </a:cubicBezTo>
                    <a:cubicBezTo>
                      <a:pt x="2" y="38"/>
                      <a:pt x="2" y="38"/>
                      <a:pt x="2" y="38"/>
                    </a:cubicBezTo>
                    <a:cubicBezTo>
                      <a:pt x="0" y="40"/>
                      <a:pt x="0" y="44"/>
                      <a:pt x="2" y="47"/>
                    </a:cubicBezTo>
                    <a:cubicBezTo>
                      <a:pt x="3" y="47"/>
                      <a:pt x="3" y="47"/>
                      <a:pt x="3" y="47"/>
                    </a:cubicBezTo>
                    <a:cubicBezTo>
                      <a:pt x="17" y="62"/>
                      <a:pt x="17" y="62"/>
                      <a:pt x="17" y="62"/>
                    </a:cubicBezTo>
                    <a:cubicBezTo>
                      <a:pt x="71" y="116"/>
                      <a:pt x="71" y="116"/>
                      <a:pt x="71" y="116"/>
                    </a:cubicBezTo>
                    <a:cubicBezTo>
                      <a:pt x="84" y="128"/>
                      <a:pt x="84" y="128"/>
                      <a:pt x="84" y="128"/>
                    </a:cubicBezTo>
                    <a:cubicBezTo>
                      <a:pt x="86" y="131"/>
                      <a:pt x="90" y="131"/>
                      <a:pt x="93" y="128"/>
                    </a:cubicBezTo>
                    <a:cubicBezTo>
                      <a:pt x="128" y="93"/>
                      <a:pt x="128" y="93"/>
                      <a:pt x="128" y="93"/>
                    </a:cubicBezTo>
                    <a:cubicBezTo>
                      <a:pt x="130" y="91"/>
                      <a:pt x="130" y="87"/>
                      <a:pt x="12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7"/>
              <p:cNvSpPr>
                <a:spLocks/>
              </p:cNvSpPr>
              <p:nvPr/>
            </p:nvSpPr>
            <p:spPr bwMode="auto">
              <a:xfrm>
                <a:off x="4027488" y="2170113"/>
                <a:ext cx="420687" cy="423862"/>
              </a:xfrm>
              <a:custGeom>
                <a:avLst/>
                <a:gdLst>
                  <a:gd name="T0" fmla="*/ 109 w 130"/>
                  <a:gd name="T1" fmla="*/ 66 h 131"/>
                  <a:gd name="T2" fmla="*/ 123 w 130"/>
                  <a:gd name="T3" fmla="*/ 52 h 131"/>
                  <a:gd name="T4" fmla="*/ 128 w 130"/>
                  <a:gd name="T5" fmla="*/ 47 h 131"/>
                  <a:gd name="T6" fmla="*/ 128 w 130"/>
                  <a:gd name="T7" fmla="*/ 38 h 131"/>
                  <a:gd name="T8" fmla="*/ 94 w 130"/>
                  <a:gd name="T9" fmla="*/ 4 h 131"/>
                  <a:gd name="T10" fmla="*/ 93 w 130"/>
                  <a:gd name="T11" fmla="*/ 3 h 131"/>
                  <a:gd name="T12" fmla="*/ 84 w 130"/>
                  <a:gd name="T13" fmla="*/ 3 h 131"/>
                  <a:gd name="T14" fmla="*/ 2 w 130"/>
                  <a:gd name="T15" fmla="*/ 84 h 131"/>
                  <a:gd name="T16" fmla="*/ 2 w 130"/>
                  <a:gd name="T17" fmla="*/ 93 h 131"/>
                  <a:gd name="T18" fmla="*/ 4 w 130"/>
                  <a:gd name="T19" fmla="*/ 95 h 131"/>
                  <a:gd name="T20" fmla="*/ 37 w 130"/>
                  <a:gd name="T21" fmla="*/ 128 h 131"/>
                  <a:gd name="T22" fmla="*/ 46 w 130"/>
                  <a:gd name="T23" fmla="*/ 128 h 131"/>
                  <a:gd name="T24" fmla="*/ 51 w 130"/>
                  <a:gd name="T25" fmla="*/ 123 h 131"/>
                  <a:gd name="T26" fmla="*/ 69 w 130"/>
                  <a:gd name="T27" fmla="*/ 106 h 131"/>
                  <a:gd name="T28" fmla="*/ 109 w 130"/>
                  <a:gd name="T29"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131">
                    <a:moveTo>
                      <a:pt x="109" y="66"/>
                    </a:moveTo>
                    <a:cubicBezTo>
                      <a:pt x="123" y="52"/>
                      <a:pt x="123" y="52"/>
                      <a:pt x="123" y="52"/>
                    </a:cubicBezTo>
                    <a:cubicBezTo>
                      <a:pt x="128" y="47"/>
                      <a:pt x="128" y="47"/>
                      <a:pt x="128" y="47"/>
                    </a:cubicBezTo>
                    <a:cubicBezTo>
                      <a:pt x="130" y="44"/>
                      <a:pt x="130" y="40"/>
                      <a:pt x="128" y="38"/>
                    </a:cubicBezTo>
                    <a:cubicBezTo>
                      <a:pt x="94" y="4"/>
                      <a:pt x="94" y="4"/>
                      <a:pt x="94" y="4"/>
                    </a:cubicBezTo>
                    <a:cubicBezTo>
                      <a:pt x="93" y="3"/>
                      <a:pt x="93" y="3"/>
                      <a:pt x="93" y="3"/>
                    </a:cubicBezTo>
                    <a:cubicBezTo>
                      <a:pt x="90" y="0"/>
                      <a:pt x="86" y="0"/>
                      <a:pt x="84" y="3"/>
                    </a:cubicBezTo>
                    <a:cubicBezTo>
                      <a:pt x="2" y="84"/>
                      <a:pt x="2" y="84"/>
                      <a:pt x="2" y="84"/>
                    </a:cubicBezTo>
                    <a:cubicBezTo>
                      <a:pt x="0" y="87"/>
                      <a:pt x="0" y="91"/>
                      <a:pt x="2" y="93"/>
                    </a:cubicBezTo>
                    <a:cubicBezTo>
                      <a:pt x="4" y="95"/>
                      <a:pt x="4" y="95"/>
                      <a:pt x="4" y="95"/>
                    </a:cubicBezTo>
                    <a:cubicBezTo>
                      <a:pt x="37" y="128"/>
                      <a:pt x="37" y="128"/>
                      <a:pt x="37" y="128"/>
                    </a:cubicBezTo>
                    <a:cubicBezTo>
                      <a:pt x="40" y="131"/>
                      <a:pt x="44" y="131"/>
                      <a:pt x="46" y="128"/>
                    </a:cubicBezTo>
                    <a:cubicBezTo>
                      <a:pt x="51" y="123"/>
                      <a:pt x="51" y="123"/>
                      <a:pt x="51" y="123"/>
                    </a:cubicBezTo>
                    <a:cubicBezTo>
                      <a:pt x="69" y="106"/>
                      <a:pt x="69" y="106"/>
                      <a:pt x="69" y="106"/>
                    </a:cubicBezTo>
                    <a:lnTo>
                      <a:pt x="10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p:cNvGrpSpPr/>
            <p:nvPr/>
          </p:nvGrpSpPr>
          <p:grpSpPr>
            <a:xfrm>
              <a:off x="2903951" y="1725055"/>
              <a:ext cx="921967" cy="642872"/>
              <a:chOff x="2178050" y="681038"/>
              <a:chExt cx="1227138" cy="855662"/>
            </a:xfrm>
            <a:solidFill>
              <a:schemeClr val="bg1"/>
            </a:solidFill>
          </p:grpSpPr>
          <p:sp>
            <p:nvSpPr>
              <p:cNvPr id="39" name="Freeform 16"/>
              <p:cNvSpPr>
                <a:spLocks/>
              </p:cNvSpPr>
              <p:nvPr/>
            </p:nvSpPr>
            <p:spPr bwMode="auto">
              <a:xfrm>
                <a:off x="2586038" y="681038"/>
                <a:ext cx="819150" cy="695325"/>
              </a:xfrm>
              <a:custGeom>
                <a:avLst/>
                <a:gdLst>
                  <a:gd name="T0" fmla="*/ 279 w 310"/>
                  <a:gd name="T1" fmla="*/ 0 h 263"/>
                  <a:gd name="T2" fmla="*/ 3 w 310"/>
                  <a:gd name="T3" fmla="*/ 0 h 263"/>
                  <a:gd name="T4" fmla="*/ 0 w 310"/>
                  <a:gd name="T5" fmla="*/ 0 h 263"/>
                  <a:gd name="T6" fmla="*/ 32 w 310"/>
                  <a:gd name="T7" fmla="*/ 26 h 263"/>
                  <a:gd name="T8" fmla="*/ 279 w 310"/>
                  <a:gd name="T9" fmla="*/ 26 h 263"/>
                  <a:gd name="T10" fmla="*/ 284 w 310"/>
                  <a:gd name="T11" fmla="*/ 31 h 263"/>
                  <a:gd name="T12" fmla="*/ 284 w 310"/>
                  <a:gd name="T13" fmla="*/ 232 h 263"/>
                  <a:gd name="T14" fmla="*/ 279 w 310"/>
                  <a:gd name="T15" fmla="*/ 238 h 263"/>
                  <a:gd name="T16" fmla="*/ 92 w 310"/>
                  <a:gd name="T17" fmla="*/ 238 h 263"/>
                  <a:gd name="T18" fmla="*/ 92 w 310"/>
                  <a:gd name="T19" fmla="*/ 263 h 263"/>
                  <a:gd name="T20" fmla="*/ 279 w 310"/>
                  <a:gd name="T21" fmla="*/ 263 h 263"/>
                  <a:gd name="T22" fmla="*/ 310 w 310"/>
                  <a:gd name="T23" fmla="*/ 232 h 263"/>
                  <a:gd name="T24" fmla="*/ 310 w 310"/>
                  <a:gd name="T25" fmla="*/ 31 h 263"/>
                  <a:gd name="T26" fmla="*/ 279 w 310"/>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63">
                    <a:moveTo>
                      <a:pt x="279" y="0"/>
                    </a:moveTo>
                    <a:cubicBezTo>
                      <a:pt x="3" y="0"/>
                      <a:pt x="3" y="0"/>
                      <a:pt x="3" y="0"/>
                    </a:cubicBezTo>
                    <a:cubicBezTo>
                      <a:pt x="2" y="0"/>
                      <a:pt x="1" y="0"/>
                      <a:pt x="0" y="0"/>
                    </a:cubicBezTo>
                    <a:cubicBezTo>
                      <a:pt x="13" y="7"/>
                      <a:pt x="23" y="15"/>
                      <a:pt x="32" y="26"/>
                    </a:cubicBezTo>
                    <a:cubicBezTo>
                      <a:pt x="279" y="26"/>
                      <a:pt x="279" y="26"/>
                      <a:pt x="279" y="26"/>
                    </a:cubicBezTo>
                    <a:cubicBezTo>
                      <a:pt x="282" y="26"/>
                      <a:pt x="284" y="28"/>
                      <a:pt x="284" y="31"/>
                    </a:cubicBezTo>
                    <a:cubicBezTo>
                      <a:pt x="284" y="232"/>
                      <a:pt x="284" y="232"/>
                      <a:pt x="284" y="232"/>
                    </a:cubicBezTo>
                    <a:cubicBezTo>
                      <a:pt x="284" y="235"/>
                      <a:pt x="282" y="238"/>
                      <a:pt x="279" y="238"/>
                    </a:cubicBezTo>
                    <a:cubicBezTo>
                      <a:pt x="92" y="238"/>
                      <a:pt x="92" y="238"/>
                      <a:pt x="92" y="238"/>
                    </a:cubicBezTo>
                    <a:cubicBezTo>
                      <a:pt x="92" y="263"/>
                      <a:pt x="92" y="263"/>
                      <a:pt x="92" y="263"/>
                    </a:cubicBezTo>
                    <a:cubicBezTo>
                      <a:pt x="279" y="263"/>
                      <a:pt x="279" y="263"/>
                      <a:pt x="279" y="263"/>
                    </a:cubicBezTo>
                    <a:cubicBezTo>
                      <a:pt x="296" y="263"/>
                      <a:pt x="310" y="250"/>
                      <a:pt x="310" y="232"/>
                    </a:cubicBezTo>
                    <a:cubicBezTo>
                      <a:pt x="310" y="31"/>
                      <a:pt x="310" y="31"/>
                      <a:pt x="310" y="31"/>
                    </a:cubicBezTo>
                    <a:cubicBezTo>
                      <a:pt x="310" y="14"/>
                      <a:pt x="296" y="0"/>
                      <a:pt x="2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7"/>
              <p:cNvSpPr>
                <a:spLocks/>
              </p:cNvSpPr>
              <p:nvPr/>
            </p:nvSpPr>
            <p:spPr bwMode="auto">
              <a:xfrm>
                <a:off x="2820988" y="1431925"/>
                <a:ext cx="401638" cy="104775"/>
              </a:xfrm>
              <a:custGeom>
                <a:avLst/>
                <a:gdLst>
                  <a:gd name="T0" fmla="*/ 136 w 152"/>
                  <a:gd name="T1" fmla="*/ 19 h 40"/>
                  <a:gd name="T2" fmla="*/ 91 w 152"/>
                  <a:gd name="T3" fmla="*/ 19 h 40"/>
                  <a:gd name="T4" fmla="*/ 91 w 152"/>
                  <a:gd name="T5" fmla="*/ 0 h 40"/>
                  <a:gd name="T6" fmla="*/ 13 w 152"/>
                  <a:gd name="T7" fmla="*/ 0 h 40"/>
                  <a:gd name="T8" fmla="*/ 13 w 152"/>
                  <a:gd name="T9" fmla="*/ 19 h 40"/>
                  <a:gd name="T10" fmla="*/ 3 w 152"/>
                  <a:gd name="T11" fmla="*/ 19 h 40"/>
                  <a:gd name="T12" fmla="*/ 3 w 152"/>
                  <a:gd name="T13" fmla="*/ 23 h 40"/>
                  <a:gd name="T14" fmla="*/ 0 w 152"/>
                  <a:gd name="T15" fmla="*/ 40 h 40"/>
                  <a:gd name="T16" fmla="*/ 152 w 152"/>
                  <a:gd name="T17" fmla="*/ 40 h 40"/>
                  <a:gd name="T18" fmla="*/ 152 w 152"/>
                  <a:gd name="T19" fmla="*/ 35 h 40"/>
                  <a:gd name="T20" fmla="*/ 136 w 152"/>
                  <a:gd name="T2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40">
                    <a:moveTo>
                      <a:pt x="136" y="19"/>
                    </a:moveTo>
                    <a:cubicBezTo>
                      <a:pt x="91" y="19"/>
                      <a:pt x="91" y="19"/>
                      <a:pt x="91" y="19"/>
                    </a:cubicBezTo>
                    <a:cubicBezTo>
                      <a:pt x="91" y="0"/>
                      <a:pt x="91" y="0"/>
                      <a:pt x="91" y="0"/>
                    </a:cubicBezTo>
                    <a:cubicBezTo>
                      <a:pt x="13" y="0"/>
                      <a:pt x="13" y="0"/>
                      <a:pt x="13" y="0"/>
                    </a:cubicBezTo>
                    <a:cubicBezTo>
                      <a:pt x="13" y="19"/>
                      <a:pt x="13" y="19"/>
                      <a:pt x="13" y="19"/>
                    </a:cubicBezTo>
                    <a:cubicBezTo>
                      <a:pt x="3" y="19"/>
                      <a:pt x="3" y="19"/>
                      <a:pt x="3" y="19"/>
                    </a:cubicBezTo>
                    <a:cubicBezTo>
                      <a:pt x="3" y="23"/>
                      <a:pt x="3" y="23"/>
                      <a:pt x="3" y="23"/>
                    </a:cubicBezTo>
                    <a:cubicBezTo>
                      <a:pt x="3" y="29"/>
                      <a:pt x="2" y="35"/>
                      <a:pt x="0" y="40"/>
                    </a:cubicBezTo>
                    <a:cubicBezTo>
                      <a:pt x="152" y="40"/>
                      <a:pt x="152" y="40"/>
                      <a:pt x="152" y="40"/>
                    </a:cubicBezTo>
                    <a:cubicBezTo>
                      <a:pt x="152" y="35"/>
                      <a:pt x="152" y="35"/>
                      <a:pt x="152" y="35"/>
                    </a:cubicBezTo>
                    <a:cubicBezTo>
                      <a:pt x="152" y="26"/>
                      <a:pt x="145" y="19"/>
                      <a:pt x="13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8"/>
              <p:cNvSpPr>
                <a:spLocks/>
              </p:cNvSpPr>
              <p:nvPr/>
            </p:nvSpPr>
            <p:spPr bwMode="auto">
              <a:xfrm>
                <a:off x="3019425" y="890588"/>
                <a:ext cx="163513" cy="163512"/>
              </a:xfrm>
              <a:custGeom>
                <a:avLst/>
                <a:gdLst>
                  <a:gd name="T0" fmla="*/ 48 w 62"/>
                  <a:gd name="T1" fmla="*/ 53 h 62"/>
                  <a:gd name="T2" fmla="*/ 61 w 62"/>
                  <a:gd name="T3" fmla="*/ 3 h 62"/>
                  <a:gd name="T4" fmla="*/ 59 w 62"/>
                  <a:gd name="T5" fmla="*/ 1 h 62"/>
                  <a:gd name="T6" fmla="*/ 10 w 62"/>
                  <a:gd name="T7" fmla="*/ 14 h 62"/>
                  <a:gd name="T8" fmla="*/ 9 w 62"/>
                  <a:gd name="T9" fmla="*/ 16 h 62"/>
                  <a:gd name="T10" fmla="*/ 24 w 62"/>
                  <a:gd name="T11" fmla="*/ 24 h 62"/>
                  <a:gd name="T12" fmla="*/ 1 w 62"/>
                  <a:gd name="T13" fmla="*/ 48 h 62"/>
                  <a:gd name="T14" fmla="*/ 1 w 62"/>
                  <a:gd name="T15" fmla="*/ 51 h 62"/>
                  <a:gd name="T16" fmla="*/ 11 w 62"/>
                  <a:gd name="T17" fmla="*/ 61 h 62"/>
                  <a:gd name="T18" fmla="*/ 14 w 62"/>
                  <a:gd name="T19" fmla="*/ 61 h 62"/>
                  <a:gd name="T20" fmla="*/ 38 w 62"/>
                  <a:gd name="T21" fmla="*/ 38 h 62"/>
                  <a:gd name="T22" fmla="*/ 46 w 62"/>
                  <a:gd name="T23" fmla="*/ 53 h 62"/>
                  <a:gd name="T24" fmla="*/ 48 w 62"/>
                  <a:gd name="T25"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48" y="53"/>
                    </a:moveTo>
                    <a:cubicBezTo>
                      <a:pt x="61" y="3"/>
                      <a:pt x="61" y="3"/>
                      <a:pt x="61" y="3"/>
                    </a:cubicBezTo>
                    <a:cubicBezTo>
                      <a:pt x="62" y="1"/>
                      <a:pt x="61" y="0"/>
                      <a:pt x="59" y="1"/>
                    </a:cubicBezTo>
                    <a:cubicBezTo>
                      <a:pt x="10" y="14"/>
                      <a:pt x="10" y="14"/>
                      <a:pt x="10" y="14"/>
                    </a:cubicBezTo>
                    <a:cubicBezTo>
                      <a:pt x="8" y="14"/>
                      <a:pt x="8" y="15"/>
                      <a:pt x="9" y="16"/>
                    </a:cubicBezTo>
                    <a:cubicBezTo>
                      <a:pt x="24" y="24"/>
                      <a:pt x="24" y="24"/>
                      <a:pt x="24" y="24"/>
                    </a:cubicBezTo>
                    <a:cubicBezTo>
                      <a:pt x="1" y="48"/>
                      <a:pt x="1" y="48"/>
                      <a:pt x="1" y="48"/>
                    </a:cubicBezTo>
                    <a:cubicBezTo>
                      <a:pt x="0" y="49"/>
                      <a:pt x="0" y="50"/>
                      <a:pt x="1" y="51"/>
                    </a:cubicBezTo>
                    <a:cubicBezTo>
                      <a:pt x="11" y="61"/>
                      <a:pt x="11" y="61"/>
                      <a:pt x="11" y="61"/>
                    </a:cubicBezTo>
                    <a:cubicBezTo>
                      <a:pt x="12" y="62"/>
                      <a:pt x="13" y="62"/>
                      <a:pt x="14" y="61"/>
                    </a:cubicBezTo>
                    <a:cubicBezTo>
                      <a:pt x="38" y="38"/>
                      <a:pt x="38" y="38"/>
                      <a:pt x="38" y="38"/>
                    </a:cubicBezTo>
                    <a:cubicBezTo>
                      <a:pt x="46" y="53"/>
                      <a:pt x="46" y="53"/>
                      <a:pt x="46" y="53"/>
                    </a:cubicBezTo>
                    <a:cubicBezTo>
                      <a:pt x="47" y="55"/>
                      <a:pt x="48" y="54"/>
                      <a:pt x="4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9"/>
              <p:cNvSpPr>
                <a:spLocks/>
              </p:cNvSpPr>
              <p:nvPr/>
            </p:nvSpPr>
            <p:spPr bwMode="auto">
              <a:xfrm>
                <a:off x="2178050" y="1114425"/>
                <a:ext cx="579438" cy="422275"/>
              </a:xfrm>
              <a:custGeom>
                <a:avLst/>
                <a:gdLst>
                  <a:gd name="T0" fmla="*/ 202 w 219"/>
                  <a:gd name="T1" fmla="*/ 0 h 160"/>
                  <a:gd name="T2" fmla="*/ 18 w 219"/>
                  <a:gd name="T3" fmla="*/ 0 h 160"/>
                  <a:gd name="T4" fmla="*/ 0 w 219"/>
                  <a:gd name="T5" fmla="*/ 17 h 160"/>
                  <a:gd name="T6" fmla="*/ 0 w 219"/>
                  <a:gd name="T7" fmla="*/ 35 h 160"/>
                  <a:gd name="T8" fmla="*/ 22 w 219"/>
                  <a:gd name="T9" fmla="*/ 35 h 160"/>
                  <a:gd name="T10" fmla="*/ 34 w 219"/>
                  <a:gd name="T11" fmla="*/ 47 h 160"/>
                  <a:gd name="T12" fmla="*/ 22 w 219"/>
                  <a:gd name="T13" fmla="*/ 59 h 160"/>
                  <a:gd name="T14" fmla="*/ 0 w 219"/>
                  <a:gd name="T15" fmla="*/ 59 h 160"/>
                  <a:gd name="T16" fmla="*/ 0 w 219"/>
                  <a:gd name="T17" fmla="*/ 72 h 160"/>
                  <a:gd name="T18" fmla="*/ 22 w 219"/>
                  <a:gd name="T19" fmla="*/ 72 h 160"/>
                  <a:gd name="T20" fmla="*/ 34 w 219"/>
                  <a:gd name="T21" fmla="*/ 84 h 160"/>
                  <a:gd name="T22" fmla="*/ 22 w 219"/>
                  <a:gd name="T23" fmla="*/ 96 h 160"/>
                  <a:gd name="T24" fmla="*/ 0 w 219"/>
                  <a:gd name="T25" fmla="*/ 96 h 160"/>
                  <a:gd name="T26" fmla="*/ 0 w 219"/>
                  <a:gd name="T27" fmla="*/ 109 h 160"/>
                  <a:gd name="T28" fmla="*/ 22 w 219"/>
                  <a:gd name="T29" fmla="*/ 109 h 160"/>
                  <a:gd name="T30" fmla="*/ 34 w 219"/>
                  <a:gd name="T31" fmla="*/ 121 h 160"/>
                  <a:gd name="T32" fmla="*/ 22 w 219"/>
                  <a:gd name="T33" fmla="*/ 133 h 160"/>
                  <a:gd name="T34" fmla="*/ 0 w 219"/>
                  <a:gd name="T35" fmla="*/ 133 h 160"/>
                  <a:gd name="T36" fmla="*/ 0 w 219"/>
                  <a:gd name="T37" fmla="*/ 143 h 160"/>
                  <a:gd name="T38" fmla="*/ 18 w 219"/>
                  <a:gd name="T39" fmla="*/ 160 h 160"/>
                  <a:gd name="T40" fmla="*/ 202 w 219"/>
                  <a:gd name="T41" fmla="*/ 160 h 160"/>
                  <a:gd name="T42" fmla="*/ 219 w 219"/>
                  <a:gd name="T43" fmla="*/ 143 h 160"/>
                  <a:gd name="T44" fmla="*/ 219 w 219"/>
                  <a:gd name="T45" fmla="*/ 17 h 160"/>
                  <a:gd name="T46" fmla="*/ 202 w 219"/>
                  <a:gd name="T4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60">
                    <a:moveTo>
                      <a:pt x="202" y="0"/>
                    </a:moveTo>
                    <a:cubicBezTo>
                      <a:pt x="18" y="0"/>
                      <a:pt x="18" y="0"/>
                      <a:pt x="18" y="0"/>
                    </a:cubicBezTo>
                    <a:cubicBezTo>
                      <a:pt x="8" y="0"/>
                      <a:pt x="0" y="8"/>
                      <a:pt x="0" y="17"/>
                    </a:cubicBezTo>
                    <a:cubicBezTo>
                      <a:pt x="0" y="35"/>
                      <a:pt x="0" y="35"/>
                      <a:pt x="0" y="35"/>
                    </a:cubicBezTo>
                    <a:cubicBezTo>
                      <a:pt x="22" y="35"/>
                      <a:pt x="22" y="35"/>
                      <a:pt x="22" y="35"/>
                    </a:cubicBezTo>
                    <a:cubicBezTo>
                      <a:pt x="29" y="35"/>
                      <a:pt x="34" y="41"/>
                      <a:pt x="34" y="47"/>
                    </a:cubicBezTo>
                    <a:cubicBezTo>
                      <a:pt x="34" y="54"/>
                      <a:pt x="29" y="59"/>
                      <a:pt x="22" y="59"/>
                    </a:cubicBezTo>
                    <a:cubicBezTo>
                      <a:pt x="0" y="59"/>
                      <a:pt x="0" y="59"/>
                      <a:pt x="0" y="59"/>
                    </a:cubicBezTo>
                    <a:cubicBezTo>
                      <a:pt x="0" y="72"/>
                      <a:pt x="0" y="72"/>
                      <a:pt x="0" y="72"/>
                    </a:cubicBezTo>
                    <a:cubicBezTo>
                      <a:pt x="22" y="72"/>
                      <a:pt x="22" y="72"/>
                      <a:pt x="22" y="72"/>
                    </a:cubicBezTo>
                    <a:cubicBezTo>
                      <a:pt x="29" y="72"/>
                      <a:pt x="34" y="78"/>
                      <a:pt x="34" y="84"/>
                    </a:cubicBezTo>
                    <a:cubicBezTo>
                      <a:pt x="34" y="91"/>
                      <a:pt x="29" y="96"/>
                      <a:pt x="22" y="96"/>
                    </a:cubicBezTo>
                    <a:cubicBezTo>
                      <a:pt x="0" y="96"/>
                      <a:pt x="0" y="96"/>
                      <a:pt x="0" y="96"/>
                    </a:cubicBezTo>
                    <a:cubicBezTo>
                      <a:pt x="0" y="109"/>
                      <a:pt x="0" y="109"/>
                      <a:pt x="0" y="109"/>
                    </a:cubicBezTo>
                    <a:cubicBezTo>
                      <a:pt x="22" y="109"/>
                      <a:pt x="22" y="109"/>
                      <a:pt x="22" y="109"/>
                    </a:cubicBezTo>
                    <a:cubicBezTo>
                      <a:pt x="29" y="109"/>
                      <a:pt x="34" y="115"/>
                      <a:pt x="34" y="121"/>
                    </a:cubicBezTo>
                    <a:cubicBezTo>
                      <a:pt x="34" y="128"/>
                      <a:pt x="29" y="133"/>
                      <a:pt x="22" y="133"/>
                    </a:cubicBezTo>
                    <a:cubicBezTo>
                      <a:pt x="0" y="133"/>
                      <a:pt x="0" y="133"/>
                      <a:pt x="0" y="133"/>
                    </a:cubicBezTo>
                    <a:cubicBezTo>
                      <a:pt x="0" y="143"/>
                      <a:pt x="0" y="143"/>
                      <a:pt x="0" y="143"/>
                    </a:cubicBezTo>
                    <a:cubicBezTo>
                      <a:pt x="0" y="152"/>
                      <a:pt x="8" y="160"/>
                      <a:pt x="18" y="160"/>
                    </a:cubicBezTo>
                    <a:cubicBezTo>
                      <a:pt x="202" y="160"/>
                      <a:pt x="202" y="160"/>
                      <a:pt x="202" y="160"/>
                    </a:cubicBezTo>
                    <a:cubicBezTo>
                      <a:pt x="212" y="160"/>
                      <a:pt x="219" y="152"/>
                      <a:pt x="219" y="143"/>
                    </a:cubicBezTo>
                    <a:cubicBezTo>
                      <a:pt x="219" y="17"/>
                      <a:pt x="219" y="17"/>
                      <a:pt x="219" y="17"/>
                    </a:cubicBezTo>
                    <a:cubicBezTo>
                      <a:pt x="219" y="8"/>
                      <a:pt x="212" y="0"/>
                      <a:pt x="2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2279650" y="727075"/>
                <a:ext cx="379413" cy="339725"/>
              </a:xfrm>
              <a:custGeom>
                <a:avLst/>
                <a:gdLst>
                  <a:gd name="T0" fmla="*/ 24 w 144"/>
                  <a:gd name="T1" fmla="*/ 72 h 129"/>
                  <a:gd name="T2" fmla="*/ 72 w 144"/>
                  <a:gd name="T3" fmla="*/ 24 h 129"/>
                  <a:gd name="T4" fmla="*/ 119 w 144"/>
                  <a:gd name="T5" fmla="*/ 72 h 129"/>
                  <a:gd name="T6" fmla="*/ 119 w 144"/>
                  <a:gd name="T7" fmla="*/ 129 h 129"/>
                  <a:gd name="T8" fmla="*/ 144 w 144"/>
                  <a:gd name="T9" fmla="*/ 129 h 129"/>
                  <a:gd name="T10" fmla="*/ 144 w 144"/>
                  <a:gd name="T11" fmla="*/ 72 h 129"/>
                  <a:gd name="T12" fmla="*/ 72 w 144"/>
                  <a:gd name="T13" fmla="*/ 0 h 129"/>
                  <a:gd name="T14" fmla="*/ 0 w 144"/>
                  <a:gd name="T15" fmla="*/ 72 h 129"/>
                  <a:gd name="T16" fmla="*/ 0 w 144"/>
                  <a:gd name="T17" fmla="*/ 129 h 129"/>
                  <a:gd name="T18" fmla="*/ 24 w 144"/>
                  <a:gd name="T19" fmla="*/ 129 h 129"/>
                  <a:gd name="T20" fmla="*/ 24 w 144"/>
                  <a:gd name="T21" fmla="*/ 7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29">
                    <a:moveTo>
                      <a:pt x="24" y="72"/>
                    </a:moveTo>
                    <a:cubicBezTo>
                      <a:pt x="25" y="46"/>
                      <a:pt x="46" y="24"/>
                      <a:pt x="72" y="24"/>
                    </a:cubicBezTo>
                    <a:cubicBezTo>
                      <a:pt x="98" y="24"/>
                      <a:pt x="119" y="46"/>
                      <a:pt x="119" y="72"/>
                    </a:cubicBezTo>
                    <a:cubicBezTo>
                      <a:pt x="119" y="129"/>
                      <a:pt x="119" y="129"/>
                      <a:pt x="119" y="129"/>
                    </a:cubicBezTo>
                    <a:cubicBezTo>
                      <a:pt x="144" y="129"/>
                      <a:pt x="144" y="129"/>
                      <a:pt x="144" y="129"/>
                    </a:cubicBezTo>
                    <a:cubicBezTo>
                      <a:pt x="144" y="72"/>
                      <a:pt x="144" y="72"/>
                      <a:pt x="144" y="72"/>
                    </a:cubicBezTo>
                    <a:cubicBezTo>
                      <a:pt x="144" y="32"/>
                      <a:pt x="112" y="0"/>
                      <a:pt x="72" y="0"/>
                    </a:cubicBezTo>
                    <a:cubicBezTo>
                      <a:pt x="32" y="0"/>
                      <a:pt x="0" y="32"/>
                      <a:pt x="0" y="72"/>
                    </a:cubicBezTo>
                    <a:cubicBezTo>
                      <a:pt x="0" y="129"/>
                      <a:pt x="0" y="129"/>
                      <a:pt x="0" y="129"/>
                    </a:cubicBezTo>
                    <a:cubicBezTo>
                      <a:pt x="24" y="129"/>
                      <a:pt x="24" y="129"/>
                      <a:pt x="24" y="129"/>
                    </a:cubicBezTo>
                    <a:lnTo>
                      <a:pt x="2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5" name="Group 44"/>
            <p:cNvGrpSpPr/>
            <p:nvPr/>
          </p:nvGrpSpPr>
          <p:grpSpPr>
            <a:xfrm>
              <a:off x="5660236" y="4775655"/>
              <a:ext cx="731191" cy="746638"/>
              <a:chOff x="7615238" y="657226"/>
              <a:chExt cx="1127125" cy="1150937"/>
            </a:xfrm>
            <a:solidFill>
              <a:schemeClr val="bg1"/>
            </a:solidFill>
          </p:grpSpPr>
          <p:sp>
            <p:nvSpPr>
              <p:cNvPr id="76" name="Freeform 35"/>
              <p:cNvSpPr>
                <a:spLocks/>
              </p:cNvSpPr>
              <p:nvPr/>
            </p:nvSpPr>
            <p:spPr bwMode="auto">
              <a:xfrm>
                <a:off x="8142288" y="657226"/>
                <a:ext cx="600075" cy="611188"/>
              </a:xfrm>
              <a:custGeom>
                <a:avLst/>
                <a:gdLst>
                  <a:gd name="T0" fmla="*/ 180 w 206"/>
                  <a:gd name="T1" fmla="*/ 210 h 210"/>
                  <a:gd name="T2" fmla="*/ 206 w 206"/>
                  <a:gd name="T3" fmla="*/ 86 h 210"/>
                  <a:gd name="T4" fmla="*/ 168 w 206"/>
                  <a:gd name="T5" fmla="*/ 102 h 210"/>
                  <a:gd name="T6" fmla="*/ 97 w 206"/>
                  <a:gd name="T7" fmla="*/ 23 h 210"/>
                  <a:gd name="T8" fmla="*/ 0 w 206"/>
                  <a:gd name="T9" fmla="*/ 4 h 210"/>
                  <a:gd name="T10" fmla="*/ 2 w 206"/>
                  <a:gd name="T11" fmla="*/ 75 h 210"/>
                  <a:gd name="T12" fmla="*/ 63 w 206"/>
                  <a:gd name="T13" fmla="*/ 84 h 210"/>
                  <a:gd name="T14" fmla="*/ 104 w 206"/>
                  <a:gd name="T15" fmla="*/ 130 h 210"/>
                  <a:gd name="T16" fmla="*/ 65 w 206"/>
                  <a:gd name="T17" fmla="*/ 147 h 210"/>
                  <a:gd name="T18" fmla="*/ 180 w 206"/>
                  <a:gd name="T1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10">
                    <a:moveTo>
                      <a:pt x="180" y="210"/>
                    </a:moveTo>
                    <a:cubicBezTo>
                      <a:pt x="206" y="86"/>
                      <a:pt x="206" y="86"/>
                      <a:pt x="206" y="86"/>
                    </a:cubicBezTo>
                    <a:cubicBezTo>
                      <a:pt x="168" y="102"/>
                      <a:pt x="168" y="102"/>
                      <a:pt x="168" y="102"/>
                    </a:cubicBezTo>
                    <a:cubicBezTo>
                      <a:pt x="155" y="70"/>
                      <a:pt x="131" y="41"/>
                      <a:pt x="97" y="23"/>
                    </a:cubicBezTo>
                    <a:cubicBezTo>
                      <a:pt x="67" y="6"/>
                      <a:pt x="33" y="0"/>
                      <a:pt x="0" y="4"/>
                    </a:cubicBezTo>
                    <a:cubicBezTo>
                      <a:pt x="2" y="75"/>
                      <a:pt x="2" y="75"/>
                      <a:pt x="2" y="75"/>
                    </a:cubicBezTo>
                    <a:cubicBezTo>
                      <a:pt x="22" y="71"/>
                      <a:pt x="44" y="74"/>
                      <a:pt x="63" y="84"/>
                    </a:cubicBezTo>
                    <a:cubicBezTo>
                      <a:pt x="83" y="95"/>
                      <a:pt x="96" y="111"/>
                      <a:pt x="104" y="130"/>
                    </a:cubicBezTo>
                    <a:cubicBezTo>
                      <a:pt x="65" y="147"/>
                      <a:pt x="65" y="147"/>
                      <a:pt x="65" y="147"/>
                    </a:cubicBezTo>
                    <a:lnTo>
                      <a:pt x="18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6"/>
              <p:cNvSpPr>
                <a:spLocks/>
              </p:cNvSpPr>
              <p:nvPr/>
            </p:nvSpPr>
            <p:spPr bwMode="auto">
              <a:xfrm>
                <a:off x="7807326" y="1312863"/>
                <a:ext cx="781050" cy="495300"/>
              </a:xfrm>
              <a:custGeom>
                <a:avLst/>
                <a:gdLst>
                  <a:gd name="T0" fmla="*/ 0 w 268"/>
                  <a:gd name="T1" fmla="*/ 84 h 170"/>
                  <a:gd name="T2" fmla="*/ 92 w 268"/>
                  <a:gd name="T3" fmla="*/ 170 h 170"/>
                  <a:gd name="T4" fmla="*/ 98 w 268"/>
                  <a:gd name="T5" fmla="*/ 129 h 170"/>
                  <a:gd name="T6" fmla="*/ 203 w 268"/>
                  <a:gd name="T7" fmla="*/ 109 h 170"/>
                  <a:gd name="T8" fmla="*/ 268 w 268"/>
                  <a:gd name="T9" fmla="*/ 35 h 170"/>
                  <a:gd name="T10" fmla="*/ 206 w 268"/>
                  <a:gd name="T11" fmla="*/ 0 h 170"/>
                  <a:gd name="T12" fmla="*/ 167 w 268"/>
                  <a:gd name="T13" fmla="*/ 48 h 170"/>
                  <a:gd name="T14" fmla="*/ 107 w 268"/>
                  <a:gd name="T15" fmla="*/ 59 h 170"/>
                  <a:gd name="T16" fmla="*/ 113 w 268"/>
                  <a:gd name="T17" fmla="*/ 18 h 170"/>
                  <a:gd name="T18" fmla="*/ 0 w 268"/>
                  <a:gd name="T19"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0">
                    <a:moveTo>
                      <a:pt x="0" y="84"/>
                    </a:moveTo>
                    <a:cubicBezTo>
                      <a:pt x="92" y="170"/>
                      <a:pt x="92" y="170"/>
                      <a:pt x="92" y="170"/>
                    </a:cubicBezTo>
                    <a:cubicBezTo>
                      <a:pt x="98" y="129"/>
                      <a:pt x="98" y="129"/>
                      <a:pt x="98" y="129"/>
                    </a:cubicBezTo>
                    <a:cubicBezTo>
                      <a:pt x="133" y="135"/>
                      <a:pt x="170" y="128"/>
                      <a:pt x="203" y="109"/>
                    </a:cubicBezTo>
                    <a:cubicBezTo>
                      <a:pt x="233" y="91"/>
                      <a:pt x="255" y="65"/>
                      <a:pt x="268" y="35"/>
                    </a:cubicBezTo>
                    <a:cubicBezTo>
                      <a:pt x="206" y="0"/>
                      <a:pt x="206" y="0"/>
                      <a:pt x="206" y="0"/>
                    </a:cubicBezTo>
                    <a:cubicBezTo>
                      <a:pt x="200" y="20"/>
                      <a:pt x="186" y="37"/>
                      <a:pt x="167" y="48"/>
                    </a:cubicBezTo>
                    <a:cubicBezTo>
                      <a:pt x="148" y="59"/>
                      <a:pt x="127" y="63"/>
                      <a:pt x="107" y="59"/>
                    </a:cubicBezTo>
                    <a:cubicBezTo>
                      <a:pt x="113" y="18"/>
                      <a:pt x="113" y="18"/>
                      <a:pt x="113" y="18"/>
                    </a:cubicBez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7"/>
              <p:cNvSpPr>
                <a:spLocks/>
              </p:cNvSpPr>
              <p:nvPr/>
            </p:nvSpPr>
            <p:spPr bwMode="auto">
              <a:xfrm>
                <a:off x="7615238" y="677863"/>
                <a:ext cx="363538" cy="747713"/>
              </a:xfrm>
              <a:custGeom>
                <a:avLst/>
                <a:gdLst>
                  <a:gd name="T0" fmla="*/ 125 w 125"/>
                  <a:gd name="T1" fmla="*/ 0 h 257"/>
                  <a:gd name="T2" fmla="*/ 3 w 125"/>
                  <a:gd name="T3" fmla="*/ 37 h 257"/>
                  <a:gd name="T4" fmla="*/ 36 w 125"/>
                  <a:gd name="T5" fmla="*/ 62 h 257"/>
                  <a:gd name="T6" fmla="*/ 0 w 125"/>
                  <a:gd name="T7" fmla="*/ 163 h 257"/>
                  <a:gd name="T8" fmla="*/ 31 w 125"/>
                  <a:gd name="T9" fmla="*/ 257 h 257"/>
                  <a:gd name="T10" fmla="*/ 92 w 125"/>
                  <a:gd name="T11" fmla="*/ 221 h 257"/>
                  <a:gd name="T12" fmla="*/ 71 w 125"/>
                  <a:gd name="T13" fmla="*/ 163 h 257"/>
                  <a:gd name="T14" fmla="*/ 92 w 125"/>
                  <a:gd name="T15" fmla="*/ 106 h 257"/>
                  <a:gd name="T16" fmla="*/ 125 w 125"/>
                  <a:gd name="T17" fmla="*/ 131 h 257"/>
                  <a:gd name="T18" fmla="*/ 125 w 125"/>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257">
                    <a:moveTo>
                      <a:pt x="125" y="0"/>
                    </a:moveTo>
                    <a:cubicBezTo>
                      <a:pt x="3" y="37"/>
                      <a:pt x="3" y="37"/>
                      <a:pt x="3" y="37"/>
                    </a:cubicBezTo>
                    <a:cubicBezTo>
                      <a:pt x="36" y="62"/>
                      <a:pt x="36" y="62"/>
                      <a:pt x="36" y="62"/>
                    </a:cubicBezTo>
                    <a:cubicBezTo>
                      <a:pt x="14" y="90"/>
                      <a:pt x="0" y="125"/>
                      <a:pt x="0" y="163"/>
                    </a:cubicBezTo>
                    <a:cubicBezTo>
                      <a:pt x="0" y="198"/>
                      <a:pt x="12" y="230"/>
                      <a:pt x="31" y="257"/>
                    </a:cubicBezTo>
                    <a:cubicBezTo>
                      <a:pt x="92" y="221"/>
                      <a:pt x="92" y="221"/>
                      <a:pt x="92" y="221"/>
                    </a:cubicBezTo>
                    <a:cubicBezTo>
                      <a:pt x="79" y="205"/>
                      <a:pt x="71" y="185"/>
                      <a:pt x="71" y="163"/>
                    </a:cubicBezTo>
                    <a:cubicBezTo>
                      <a:pt x="71" y="141"/>
                      <a:pt x="79" y="121"/>
                      <a:pt x="92" y="106"/>
                    </a:cubicBezTo>
                    <a:cubicBezTo>
                      <a:pt x="125" y="131"/>
                      <a:pt x="125" y="131"/>
                      <a:pt x="125" y="131"/>
                    </a:cubicBez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 name="Freeform 54"/>
            <p:cNvSpPr>
              <a:spLocks noEditPoints="1"/>
            </p:cNvSpPr>
            <p:nvPr/>
          </p:nvSpPr>
          <p:spPr bwMode="auto">
            <a:xfrm>
              <a:off x="5874428" y="2137039"/>
              <a:ext cx="508096" cy="635715"/>
            </a:xfrm>
            <a:custGeom>
              <a:avLst/>
              <a:gdLst>
                <a:gd name="T0" fmla="*/ 240 w 314"/>
                <a:gd name="T1" fmla="*/ 229 h 392"/>
                <a:gd name="T2" fmla="*/ 171 w 314"/>
                <a:gd name="T3" fmla="*/ 299 h 392"/>
                <a:gd name="T4" fmla="*/ 143 w 314"/>
                <a:gd name="T5" fmla="*/ 299 h 392"/>
                <a:gd name="T6" fmla="*/ 74 w 314"/>
                <a:gd name="T7" fmla="*/ 229 h 392"/>
                <a:gd name="T8" fmla="*/ 79 w 314"/>
                <a:gd name="T9" fmla="*/ 215 h 392"/>
                <a:gd name="T10" fmla="*/ 110 w 314"/>
                <a:gd name="T11" fmla="*/ 215 h 392"/>
                <a:gd name="T12" fmla="*/ 110 w 314"/>
                <a:gd name="T13" fmla="*/ 153 h 392"/>
                <a:gd name="T14" fmla="*/ 119 w 314"/>
                <a:gd name="T15" fmla="*/ 143 h 392"/>
                <a:gd name="T16" fmla="*/ 194 w 314"/>
                <a:gd name="T17" fmla="*/ 143 h 392"/>
                <a:gd name="T18" fmla="*/ 204 w 314"/>
                <a:gd name="T19" fmla="*/ 153 h 392"/>
                <a:gd name="T20" fmla="*/ 204 w 314"/>
                <a:gd name="T21" fmla="*/ 215 h 392"/>
                <a:gd name="T22" fmla="*/ 234 w 314"/>
                <a:gd name="T23" fmla="*/ 215 h 392"/>
                <a:gd name="T24" fmla="*/ 240 w 314"/>
                <a:gd name="T25" fmla="*/ 229 h 392"/>
                <a:gd name="T26" fmla="*/ 216 w 314"/>
                <a:gd name="T27" fmla="*/ 93 h 392"/>
                <a:gd name="T28" fmla="*/ 216 w 314"/>
                <a:gd name="T29" fmla="*/ 5 h 392"/>
                <a:gd name="T30" fmla="*/ 229 w 314"/>
                <a:gd name="T31" fmla="*/ 13 h 392"/>
                <a:gd name="T32" fmla="*/ 301 w 314"/>
                <a:gd name="T33" fmla="*/ 85 h 392"/>
                <a:gd name="T34" fmla="*/ 309 w 314"/>
                <a:gd name="T35" fmla="*/ 97 h 392"/>
                <a:gd name="T36" fmla="*/ 221 w 314"/>
                <a:gd name="T37" fmla="*/ 97 h 392"/>
                <a:gd name="T38" fmla="*/ 216 w 314"/>
                <a:gd name="T39" fmla="*/ 93 h 392"/>
                <a:gd name="T40" fmla="*/ 314 w 314"/>
                <a:gd name="T41" fmla="*/ 117 h 392"/>
                <a:gd name="T42" fmla="*/ 314 w 314"/>
                <a:gd name="T43" fmla="*/ 113 h 392"/>
                <a:gd name="T44" fmla="*/ 221 w 314"/>
                <a:gd name="T45" fmla="*/ 113 h 392"/>
                <a:gd name="T46" fmla="*/ 200 w 314"/>
                <a:gd name="T47" fmla="*/ 93 h 392"/>
                <a:gd name="T48" fmla="*/ 200 w 314"/>
                <a:gd name="T49" fmla="*/ 0 h 392"/>
                <a:gd name="T50" fmla="*/ 197 w 314"/>
                <a:gd name="T51" fmla="*/ 0 h 392"/>
                <a:gd name="T52" fmla="*/ 23 w 314"/>
                <a:gd name="T53" fmla="*/ 0 h 392"/>
                <a:gd name="T54" fmla="*/ 0 w 314"/>
                <a:gd name="T55" fmla="*/ 23 h 392"/>
                <a:gd name="T56" fmla="*/ 0 w 314"/>
                <a:gd name="T57" fmla="*/ 369 h 392"/>
                <a:gd name="T58" fmla="*/ 23 w 314"/>
                <a:gd name="T59" fmla="*/ 392 h 392"/>
                <a:gd name="T60" fmla="*/ 269 w 314"/>
                <a:gd name="T61" fmla="*/ 392 h 392"/>
                <a:gd name="T62" fmla="*/ 269 w 314"/>
                <a:gd name="T63" fmla="*/ 392 h 392"/>
                <a:gd name="T64" fmla="*/ 291 w 314"/>
                <a:gd name="T65" fmla="*/ 392 h 392"/>
                <a:gd name="T66" fmla="*/ 314 w 314"/>
                <a:gd name="T67" fmla="*/ 369 h 392"/>
                <a:gd name="T68" fmla="*/ 314 w 314"/>
                <a:gd name="T69" fmla="*/ 342 h 392"/>
                <a:gd name="T70" fmla="*/ 314 w 314"/>
                <a:gd name="T71" fmla="*/ 342 h 392"/>
                <a:gd name="T72" fmla="*/ 314 w 314"/>
                <a:gd name="T73" fmla="*/ 11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4" h="392">
                  <a:moveTo>
                    <a:pt x="240" y="229"/>
                  </a:moveTo>
                  <a:cubicBezTo>
                    <a:pt x="171" y="299"/>
                    <a:pt x="171" y="299"/>
                    <a:pt x="171" y="299"/>
                  </a:cubicBezTo>
                  <a:cubicBezTo>
                    <a:pt x="163" y="307"/>
                    <a:pt x="151" y="307"/>
                    <a:pt x="143" y="299"/>
                  </a:cubicBezTo>
                  <a:cubicBezTo>
                    <a:pt x="74" y="229"/>
                    <a:pt x="74" y="229"/>
                    <a:pt x="74" y="229"/>
                  </a:cubicBezTo>
                  <a:cubicBezTo>
                    <a:pt x="66" y="221"/>
                    <a:pt x="69" y="215"/>
                    <a:pt x="79" y="215"/>
                  </a:cubicBezTo>
                  <a:cubicBezTo>
                    <a:pt x="110" y="215"/>
                    <a:pt x="110" y="215"/>
                    <a:pt x="110" y="215"/>
                  </a:cubicBezTo>
                  <a:cubicBezTo>
                    <a:pt x="110" y="153"/>
                    <a:pt x="110" y="153"/>
                    <a:pt x="110" y="153"/>
                  </a:cubicBezTo>
                  <a:cubicBezTo>
                    <a:pt x="110" y="147"/>
                    <a:pt x="114" y="143"/>
                    <a:pt x="119" y="143"/>
                  </a:cubicBezTo>
                  <a:cubicBezTo>
                    <a:pt x="194" y="143"/>
                    <a:pt x="194" y="143"/>
                    <a:pt x="194" y="143"/>
                  </a:cubicBezTo>
                  <a:cubicBezTo>
                    <a:pt x="200" y="143"/>
                    <a:pt x="204" y="147"/>
                    <a:pt x="204" y="153"/>
                  </a:cubicBezTo>
                  <a:cubicBezTo>
                    <a:pt x="204" y="215"/>
                    <a:pt x="204" y="215"/>
                    <a:pt x="204" y="215"/>
                  </a:cubicBezTo>
                  <a:cubicBezTo>
                    <a:pt x="234" y="215"/>
                    <a:pt x="234" y="215"/>
                    <a:pt x="234" y="215"/>
                  </a:cubicBezTo>
                  <a:cubicBezTo>
                    <a:pt x="245" y="215"/>
                    <a:pt x="248" y="221"/>
                    <a:pt x="240" y="229"/>
                  </a:cubicBezTo>
                  <a:close/>
                  <a:moveTo>
                    <a:pt x="216" y="93"/>
                  </a:moveTo>
                  <a:cubicBezTo>
                    <a:pt x="216" y="5"/>
                    <a:pt x="216" y="5"/>
                    <a:pt x="216" y="5"/>
                  </a:cubicBezTo>
                  <a:cubicBezTo>
                    <a:pt x="221" y="7"/>
                    <a:pt x="226" y="10"/>
                    <a:pt x="229" y="13"/>
                  </a:cubicBezTo>
                  <a:cubicBezTo>
                    <a:pt x="301" y="85"/>
                    <a:pt x="301" y="85"/>
                    <a:pt x="301" y="85"/>
                  </a:cubicBezTo>
                  <a:cubicBezTo>
                    <a:pt x="304" y="88"/>
                    <a:pt x="307" y="92"/>
                    <a:pt x="309" y="97"/>
                  </a:cubicBezTo>
                  <a:cubicBezTo>
                    <a:pt x="221" y="97"/>
                    <a:pt x="221" y="97"/>
                    <a:pt x="221" y="97"/>
                  </a:cubicBezTo>
                  <a:cubicBezTo>
                    <a:pt x="218" y="97"/>
                    <a:pt x="216" y="95"/>
                    <a:pt x="216" y="93"/>
                  </a:cubicBezTo>
                  <a:close/>
                  <a:moveTo>
                    <a:pt x="314" y="117"/>
                  </a:moveTo>
                  <a:cubicBezTo>
                    <a:pt x="314" y="116"/>
                    <a:pt x="314" y="114"/>
                    <a:pt x="314" y="113"/>
                  </a:cubicBezTo>
                  <a:cubicBezTo>
                    <a:pt x="221" y="113"/>
                    <a:pt x="221" y="113"/>
                    <a:pt x="221" y="113"/>
                  </a:cubicBezTo>
                  <a:cubicBezTo>
                    <a:pt x="210" y="113"/>
                    <a:pt x="200" y="104"/>
                    <a:pt x="200" y="93"/>
                  </a:cubicBezTo>
                  <a:cubicBezTo>
                    <a:pt x="200" y="0"/>
                    <a:pt x="200" y="0"/>
                    <a:pt x="200" y="0"/>
                  </a:cubicBezTo>
                  <a:cubicBezTo>
                    <a:pt x="199" y="0"/>
                    <a:pt x="198" y="0"/>
                    <a:pt x="197" y="0"/>
                  </a:cubicBezTo>
                  <a:cubicBezTo>
                    <a:pt x="23" y="0"/>
                    <a:pt x="23" y="0"/>
                    <a:pt x="23" y="0"/>
                  </a:cubicBezTo>
                  <a:cubicBezTo>
                    <a:pt x="10" y="0"/>
                    <a:pt x="0" y="10"/>
                    <a:pt x="0" y="23"/>
                  </a:cubicBezTo>
                  <a:cubicBezTo>
                    <a:pt x="0" y="369"/>
                    <a:pt x="0" y="369"/>
                    <a:pt x="0" y="369"/>
                  </a:cubicBezTo>
                  <a:cubicBezTo>
                    <a:pt x="0" y="381"/>
                    <a:pt x="10" y="392"/>
                    <a:pt x="23" y="392"/>
                  </a:cubicBezTo>
                  <a:cubicBezTo>
                    <a:pt x="269" y="392"/>
                    <a:pt x="269" y="392"/>
                    <a:pt x="269" y="392"/>
                  </a:cubicBezTo>
                  <a:cubicBezTo>
                    <a:pt x="269" y="392"/>
                    <a:pt x="269" y="392"/>
                    <a:pt x="269" y="392"/>
                  </a:cubicBezTo>
                  <a:cubicBezTo>
                    <a:pt x="291" y="392"/>
                    <a:pt x="291" y="392"/>
                    <a:pt x="291" y="392"/>
                  </a:cubicBezTo>
                  <a:cubicBezTo>
                    <a:pt x="304" y="392"/>
                    <a:pt x="314" y="381"/>
                    <a:pt x="314" y="369"/>
                  </a:cubicBezTo>
                  <a:cubicBezTo>
                    <a:pt x="314" y="342"/>
                    <a:pt x="314" y="342"/>
                    <a:pt x="314" y="342"/>
                  </a:cubicBezTo>
                  <a:cubicBezTo>
                    <a:pt x="314" y="342"/>
                    <a:pt x="314" y="342"/>
                    <a:pt x="314" y="342"/>
                  </a:cubicBezTo>
                  <a:lnTo>
                    <a:pt x="314" y="11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51598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1638" y="440714"/>
            <a:ext cx="8345487" cy="332399"/>
          </a:xfrm>
        </p:spPr>
        <p:txBody>
          <a:bodyPr/>
          <a:lstStyle/>
          <a:p>
            <a:pPr>
              <a:lnSpc>
                <a:spcPct val="90000"/>
              </a:lnSpc>
            </a:pPr>
            <a:r>
              <a:rPr lang="en-US" dirty="0" smtClean="0"/>
              <a:t>Roles and Responsibilities in the RMF Proces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691344392"/>
              </p:ext>
            </p:extLst>
          </p:nvPr>
        </p:nvGraphicFramePr>
        <p:xfrm>
          <a:off x="289529" y="975557"/>
          <a:ext cx="8528090" cy="5717204"/>
        </p:xfrm>
        <a:graphic>
          <a:graphicData uri="http://schemas.openxmlformats.org/drawingml/2006/table">
            <a:tbl>
              <a:tblPr firstRow="1" bandRow="1">
                <a:tableStyleId>{5C22544A-7EE6-4342-B048-85BDC9FD1C3A}</a:tableStyleId>
              </a:tblPr>
              <a:tblGrid>
                <a:gridCol w="798292"/>
                <a:gridCol w="2468880"/>
                <a:gridCol w="5260918"/>
              </a:tblGrid>
              <a:tr h="347501">
                <a:tc gridSpan="2">
                  <a:txBody>
                    <a:bodyPr/>
                    <a:lstStyle/>
                    <a:p>
                      <a:pPr algn="ctr"/>
                      <a:r>
                        <a:rPr lang="en-US" sz="1400" dirty="0" smtClean="0"/>
                        <a:t>Rol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t>Responsibilitie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909821">
                <a:tc>
                  <a:txBody>
                    <a:bodyPr/>
                    <a:lstStyle/>
                    <a:p>
                      <a:pPr algn="ct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kern="1200" dirty="0" smtClean="0">
                          <a:solidFill>
                            <a:schemeClr val="dk1"/>
                          </a:solidFill>
                          <a:effectLst/>
                          <a:latin typeface="+mn-lt"/>
                          <a:ea typeface="+mn-ea"/>
                          <a:cs typeface="+mn-cs"/>
                        </a:rPr>
                        <a:t>Authorizing</a:t>
                      </a:r>
                      <a:r>
                        <a:rPr lang="en-US" sz="1300" b="1" kern="1200" baseline="0" dirty="0" smtClean="0">
                          <a:solidFill>
                            <a:schemeClr val="dk1"/>
                          </a:solidFill>
                          <a:effectLst/>
                          <a:latin typeface="+mn-lt"/>
                          <a:ea typeface="+mn-ea"/>
                          <a:cs typeface="+mn-cs"/>
                        </a:rPr>
                        <a:t> Official (AO) (formerly the DAA) and Designated Authorizing Official (DAO) (formerly the RDAA)</a:t>
                      </a: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0" kern="1200" baseline="0" dirty="0" smtClean="0">
                          <a:solidFill>
                            <a:schemeClr val="tx1"/>
                          </a:solidFill>
                          <a:latin typeface="+mn-lt"/>
                          <a:ea typeface="+mn-ea"/>
                          <a:cs typeface="+mn-cs"/>
                        </a:rPr>
                        <a:t>Formally assumes responsibility for operating an IS at an acceptable level of risk to organizational operations, organizational assets, individuals, other organizations, and national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95461">
                <a:tc>
                  <a:txBody>
                    <a:bodyPr/>
                    <a:lstStyle/>
                    <a:p>
                      <a:pPr algn="ct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smtClean="0"/>
                        <a:t>Security Control Assessor (SCA)</a:t>
                      </a:r>
                      <a:r>
                        <a:rPr lang="en-US" sz="1300" b="1" baseline="0" dirty="0"/>
                        <a:t> </a:t>
                      </a:r>
                      <a:r>
                        <a:rPr lang="en-US" sz="1300" b="1" baseline="0" dirty="0" smtClean="0"/>
                        <a:t>(formerly the ISSP)</a:t>
                      </a: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dirty="0" smtClean="0">
                          <a:solidFill>
                            <a:schemeClr val="tx1"/>
                          </a:solidFill>
                        </a:rPr>
                        <a:t>Performs</a:t>
                      </a:r>
                      <a:r>
                        <a:rPr lang="en-US" sz="1300" baseline="0" dirty="0" smtClean="0">
                          <a:solidFill>
                            <a:schemeClr val="tx1"/>
                          </a:solidFill>
                        </a:rPr>
                        <a:t> oversight of a contractor’s IS processing classified information</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aseline="0" dirty="0" smtClean="0">
                          <a:solidFill>
                            <a:schemeClr val="tx1"/>
                          </a:solidFill>
                        </a:rPr>
                        <a:t>Conducts a comprehensive assessment of the management, operational, and technical security controls employed within or inherited by an IS to determine the overall effectiveness of the control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aseline="0" dirty="0" smtClean="0">
                          <a:solidFill>
                            <a:schemeClr val="tx1"/>
                          </a:solidFill>
                        </a:rPr>
                        <a:t>Provides an assessment of the severity of weaknesses or deficiencies discovered in the IS and its environment of operation and recommends corrective action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aseline="0" dirty="0" smtClean="0">
                          <a:solidFill>
                            <a:schemeClr val="tx1"/>
                          </a:solidFill>
                        </a:rPr>
                        <a:t>Provides an authorization decision recommendation to the DAO</a:t>
                      </a:r>
                      <a:endParaRPr lang="en-US" sz="1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05896">
                <a:tc>
                  <a:txBody>
                    <a:bodyPr/>
                    <a:lstStyle/>
                    <a:p>
                      <a:pPr algn="ct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kern="1200" dirty="0" smtClean="0">
                          <a:solidFill>
                            <a:schemeClr val="dk1"/>
                          </a:solidFill>
                          <a:effectLst/>
                          <a:latin typeface="+mn-lt"/>
                          <a:ea typeface="+mn-ea"/>
                          <a:cs typeface="+mn-cs"/>
                        </a:rPr>
                        <a:t>Common Control Provider (CCP) (formerly the Host “Node”)</a:t>
                      </a: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Assumes responsibility for the development, implementation, assessment, and monitoring of common security controls</a:t>
                      </a:r>
                      <a:endParaRPr lang="en-US" sz="1300" kern="1200" baseline="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1686306">
                <a:tc>
                  <a:txBody>
                    <a:bodyPr/>
                    <a:lstStyle/>
                    <a:p>
                      <a:pPr algn="ct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b="1" dirty="0" smtClean="0"/>
                        <a:t>Information Owner (IO)/Government</a:t>
                      </a:r>
                      <a:r>
                        <a:rPr lang="en-US" sz="1300" b="1" baseline="0" dirty="0" smtClean="0"/>
                        <a:t> Contracting Activity (GCA)</a:t>
                      </a:r>
                      <a:r>
                        <a:rPr lang="en-US" sz="1300" b="1" dirty="0" smtClean="0"/>
                        <a:t> (a.k.a.</a:t>
                      </a:r>
                      <a:r>
                        <a:rPr lang="en-US" sz="1300" b="1" baseline="0" dirty="0" smtClean="0"/>
                        <a:t> the Customer)</a:t>
                      </a: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Holds statutory, management, or operational authority for specific information to establish the policies and procedures governing its generation, collection, processing, dissemination, and disposal</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Establishes the rules for appropriate use and protection of the subject information and retains that responsibility when the information is shared with or provided to other organization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Provides input to the Information System Owners (ISOs) regarding data</a:t>
                      </a:r>
                      <a:endParaRPr lang="en-US" sz="1300" kern="1200" baseline="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1" name="Freeform 6"/>
          <p:cNvSpPr>
            <a:spLocks noEditPoints="1"/>
          </p:cNvSpPr>
          <p:nvPr/>
        </p:nvSpPr>
        <p:spPr bwMode="auto">
          <a:xfrm>
            <a:off x="558818" y="1549682"/>
            <a:ext cx="401314" cy="544918"/>
          </a:xfrm>
          <a:custGeom>
            <a:avLst/>
            <a:gdLst>
              <a:gd name="T0" fmla="*/ 435 w 531"/>
              <a:gd name="T1" fmla="*/ 139 h 793"/>
              <a:gd name="T2" fmla="*/ 531 w 531"/>
              <a:gd name="T3" fmla="*/ 139 h 793"/>
              <a:gd name="T4" fmla="*/ 388 w 531"/>
              <a:gd name="T5" fmla="*/ 1 h 793"/>
              <a:gd name="T6" fmla="*/ 387 w 531"/>
              <a:gd name="T7" fmla="*/ 0 h 793"/>
              <a:gd name="T8" fmla="*/ 387 w 531"/>
              <a:gd name="T9" fmla="*/ 90 h 793"/>
              <a:gd name="T10" fmla="*/ 435 w 531"/>
              <a:gd name="T11" fmla="*/ 139 h 793"/>
              <a:gd name="T12" fmla="*/ 390 w 531"/>
              <a:gd name="T13" fmla="*/ 566 h 793"/>
              <a:gd name="T14" fmla="*/ 375 w 531"/>
              <a:gd name="T15" fmla="*/ 564 h 793"/>
              <a:gd name="T16" fmla="*/ 374 w 531"/>
              <a:gd name="T17" fmla="*/ 622 h 793"/>
              <a:gd name="T18" fmla="*/ 390 w 531"/>
              <a:gd name="T19" fmla="*/ 606 h 793"/>
              <a:gd name="T20" fmla="*/ 406 w 531"/>
              <a:gd name="T21" fmla="*/ 621 h 793"/>
              <a:gd name="T22" fmla="*/ 406 w 531"/>
              <a:gd name="T23" fmla="*/ 564 h 793"/>
              <a:gd name="T24" fmla="*/ 390 w 531"/>
              <a:gd name="T25" fmla="*/ 566 h 793"/>
              <a:gd name="T26" fmla="*/ 435 w 531"/>
              <a:gd name="T27" fmla="*/ 167 h 793"/>
              <a:gd name="T28" fmla="*/ 358 w 531"/>
              <a:gd name="T29" fmla="*/ 90 h 793"/>
              <a:gd name="T30" fmla="*/ 358 w 531"/>
              <a:gd name="T31" fmla="*/ 0 h 793"/>
              <a:gd name="T32" fmla="*/ 0 w 531"/>
              <a:gd name="T33" fmla="*/ 0 h 793"/>
              <a:gd name="T34" fmla="*/ 0 w 531"/>
              <a:gd name="T35" fmla="*/ 793 h 793"/>
              <a:gd name="T36" fmla="*/ 531 w 531"/>
              <a:gd name="T37" fmla="*/ 793 h 793"/>
              <a:gd name="T38" fmla="*/ 531 w 531"/>
              <a:gd name="T39" fmla="*/ 167 h 793"/>
              <a:gd name="T40" fmla="*/ 435 w 531"/>
              <a:gd name="T41" fmla="*/ 167 h 793"/>
              <a:gd name="T42" fmla="*/ 91 w 531"/>
              <a:gd name="T43" fmla="*/ 247 h 793"/>
              <a:gd name="T44" fmla="*/ 442 w 531"/>
              <a:gd name="T45" fmla="*/ 247 h 793"/>
              <a:gd name="T46" fmla="*/ 454 w 531"/>
              <a:gd name="T47" fmla="*/ 262 h 793"/>
              <a:gd name="T48" fmla="*/ 442 w 531"/>
              <a:gd name="T49" fmla="*/ 276 h 793"/>
              <a:gd name="T50" fmla="*/ 91 w 531"/>
              <a:gd name="T51" fmla="*/ 276 h 793"/>
              <a:gd name="T52" fmla="*/ 79 w 531"/>
              <a:gd name="T53" fmla="*/ 262 h 793"/>
              <a:gd name="T54" fmla="*/ 91 w 531"/>
              <a:gd name="T55" fmla="*/ 247 h 793"/>
              <a:gd name="T56" fmla="*/ 79 w 531"/>
              <a:gd name="T57" fmla="*/ 340 h 793"/>
              <a:gd name="T58" fmla="*/ 91 w 531"/>
              <a:gd name="T59" fmla="*/ 326 h 793"/>
              <a:gd name="T60" fmla="*/ 442 w 531"/>
              <a:gd name="T61" fmla="*/ 326 h 793"/>
              <a:gd name="T62" fmla="*/ 454 w 531"/>
              <a:gd name="T63" fmla="*/ 340 h 793"/>
              <a:gd name="T64" fmla="*/ 442 w 531"/>
              <a:gd name="T65" fmla="*/ 354 h 793"/>
              <a:gd name="T66" fmla="*/ 91 w 531"/>
              <a:gd name="T67" fmla="*/ 354 h 793"/>
              <a:gd name="T68" fmla="*/ 79 w 531"/>
              <a:gd name="T69" fmla="*/ 340 h 793"/>
              <a:gd name="T70" fmla="*/ 434 w 531"/>
              <a:gd name="T71" fmla="*/ 549 h 793"/>
              <a:gd name="T72" fmla="*/ 435 w 531"/>
              <a:gd name="T73" fmla="*/ 687 h 793"/>
              <a:gd name="T74" fmla="*/ 390 w 531"/>
              <a:gd name="T75" fmla="*/ 634 h 793"/>
              <a:gd name="T76" fmla="*/ 346 w 531"/>
              <a:gd name="T77" fmla="*/ 689 h 793"/>
              <a:gd name="T78" fmla="*/ 346 w 531"/>
              <a:gd name="T79" fmla="*/ 548 h 793"/>
              <a:gd name="T80" fmla="*/ 326 w 531"/>
              <a:gd name="T81" fmla="*/ 502 h 793"/>
              <a:gd name="T82" fmla="*/ 390 w 531"/>
              <a:gd name="T83" fmla="*/ 437 h 793"/>
              <a:gd name="T84" fmla="*/ 455 w 531"/>
              <a:gd name="T85" fmla="*/ 502 h 793"/>
              <a:gd name="T86" fmla="*/ 434 w 531"/>
              <a:gd name="T87" fmla="*/ 549 h 793"/>
              <a:gd name="T88" fmla="*/ 391 w 531"/>
              <a:gd name="T89" fmla="*/ 466 h 793"/>
              <a:gd name="T90" fmla="*/ 355 w 531"/>
              <a:gd name="T91" fmla="*/ 502 h 793"/>
              <a:gd name="T92" fmla="*/ 391 w 531"/>
              <a:gd name="T93" fmla="*/ 538 h 793"/>
              <a:gd name="T94" fmla="*/ 427 w 531"/>
              <a:gd name="T95" fmla="*/ 502 h 793"/>
              <a:gd name="T96" fmla="*/ 391 w 531"/>
              <a:gd name="T97" fmla="*/ 466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93">
                <a:moveTo>
                  <a:pt x="435" y="139"/>
                </a:moveTo>
                <a:cubicBezTo>
                  <a:pt x="531" y="139"/>
                  <a:pt x="531" y="139"/>
                  <a:pt x="531" y="139"/>
                </a:cubicBezTo>
                <a:cubicBezTo>
                  <a:pt x="388" y="1"/>
                  <a:pt x="388" y="1"/>
                  <a:pt x="388" y="1"/>
                </a:cubicBezTo>
                <a:cubicBezTo>
                  <a:pt x="387" y="0"/>
                  <a:pt x="387" y="0"/>
                  <a:pt x="387" y="0"/>
                </a:cubicBezTo>
                <a:cubicBezTo>
                  <a:pt x="387" y="90"/>
                  <a:pt x="387" y="90"/>
                  <a:pt x="387" y="90"/>
                </a:cubicBezTo>
                <a:cubicBezTo>
                  <a:pt x="387" y="117"/>
                  <a:pt x="409" y="139"/>
                  <a:pt x="435" y="139"/>
                </a:cubicBezTo>
                <a:close/>
                <a:moveTo>
                  <a:pt x="390" y="566"/>
                </a:moveTo>
                <a:cubicBezTo>
                  <a:pt x="382" y="566"/>
                  <a:pt x="375" y="564"/>
                  <a:pt x="375" y="564"/>
                </a:cubicBezTo>
                <a:cubicBezTo>
                  <a:pt x="374" y="622"/>
                  <a:pt x="374" y="622"/>
                  <a:pt x="374" y="622"/>
                </a:cubicBezTo>
                <a:cubicBezTo>
                  <a:pt x="390" y="606"/>
                  <a:pt x="390" y="606"/>
                  <a:pt x="390" y="606"/>
                </a:cubicBezTo>
                <a:cubicBezTo>
                  <a:pt x="406" y="621"/>
                  <a:pt x="406" y="621"/>
                  <a:pt x="406" y="621"/>
                </a:cubicBezTo>
                <a:cubicBezTo>
                  <a:pt x="406" y="564"/>
                  <a:pt x="406" y="564"/>
                  <a:pt x="406" y="564"/>
                </a:cubicBezTo>
                <a:cubicBezTo>
                  <a:pt x="406" y="564"/>
                  <a:pt x="398" y="566"/>
                  <a:pt x="390" y="566"/>
                </a:cubicBezTo>
                <a:close/>
                <a:moveTo>
                  <a:pt x="435" y="167"/>
                </a:moveTo>
                <a:cubicBezTo>
                  <a:pt x="399" y="167"/>
                  <a:pt x="359" y="126"/>
                  <a:pt x="358" y="90"/>
                </a:cubicBezTo>
                <a:cubicBezTo>
                  <a:pt x="358" y="0"/>
                  <a:pt x="358" y="0"/>
                  <a:pt x="358" y="0"/>
                </a:cubicBezTo>
                <a:cubicBezTo>
                  <a:pt x="0" y="0"/>
                  <a:pt x="0" y="0"/>
                  <a:pt x="0" y="0"/>
                </a:cubicBezTo>
                <a:cubicBezTo>
                  <a:pt x="0" y="793"/>
                  <a:pt x="0" y="793"/>
                  <a:pt x="0" y="793"/>
                </a:cubicBezTo>
                <a:cubicBezTo>
                  <a:pt x="531" y="793"/>
                  <a:pt x="531" y="793"/>
                  <a:pt x="531" y="793"/>
                </a:cubicBezTo>
                <a:cubicBezTo>
                  <a:pt x="531" y="167"/>
                  <a:pt x="531" y="167"/>
                  <a:pt x="531" y="167"/>
                </a:cubicBezTo>
                <a:lnTo>
                  <a:pt x="435" y="167"/>
                </a:lnTo>
                <a:close/>
                <a:moveTo>
                  <a:pt x="91" y="247"/>
                </a:moveTo>
                <a:cubicBezTo>
                  <a:pt x="442" y="247"/>
                  <a:pt x="442" y="247"/>
                  <a:pt x="442" y="247"/>
                </a:cubicBezTo>
                <a:cubicBezTo>
                  <a:pt x="448" y="247"/>
                  <a:pt x="454" y="255"/>
                  <a:pt x="454" y="262"/>
                </a:cubicBezTo>
                <a:cubicBezTo>
                  <a:pt x="454" y="268"/>
                  <a:pt x="448" y="276"/>
                  <a:pt x="442" y="276"/>
                </a:cubicBezTo>
                <a:cubicBezTo>
                  <a:pt x="91" y="276"/>
                  <a:pt x="91" y="276"/>
                  <a:pt x="91" y="276"/>
                </a:cubicBezTo>
                <a:cubicBezTo>
                  <a:pt x="84" y="276"/>
                  <a:pt x="79" y="268"/>
                  <a:pt x="79" y="262"/>
                </a:cubicBezTo>
                <a:cubicBezTo>
                  <a:pt x="79" y="255"/>
                  <a:pt x="84" y="247"/>
                  <a:pt x="91" y="247"/>
                </a:cubicBezTo>
                <a:close/>
                <a:moveTo>
                  <a:pt x="79" y="340"/>
                </a:moveTo>
                <a:cubicBezTo>
                  <a:pt x="79" y="333"/>
                  <a:pt x="84" y="326"/>
                  <a:pt x="91" y="326"/>
                </a:cubicBezTo>
                <a:cubicBezTo>
                  <a:pt x="442" y="326"/>
                  <a:pt x="442" y="326"/>
                  <a:pt x="442" y="326"/>
                </a:cubicBezTo>
                <a:cubicBezTo>
                  <a:pt x="448" y="326"/>
                  <a:pt x="454" y="333"/>
                  <a:pt x="454" y="340"/>
                </a:cubicBezTo>
                <a:cubicBezTo>
                  <a:pt x="454" y="347"/>
                  <a:pt x="448" y="354"/>
                  <a:pt x="442" y="354"/>
                </a:cubicBezTo>
                <a:cubicBezTo>
                  <a:pt x="91" y="354"/>
                  <a:pt x="91" y="354"/>
                  <a:pt x="91" y="354"/>
                </a:cubicBezTo>
                <a:cubicBezTo>
                  <a:pt x="84" y="354"/>
                  <a:pt x="79" y="347"/>
                  <a:pt x="79" y="340"/>
                </a:cubicBezTo>
                <a:close/>
                <a:moveTo>
                  <a:pt x="434" y="549"/>
                </a:moveTo>
                <a:cubicBezTo>
                  <a:pt x="435" y="687"/>
                  <a:pt x="435" y="687"/>
                  <a:pt x="435" y="687"/>
                </a:cubicBezTo>
                <a:cubicBezTo>
                  <a:pt x="390" y="634"/>
                  <a:pt x="390" y="634"/>
                  <a:pt x="390" y="634"/>
                </a:cubicBezTo>
                <a:cubicBezTo>
                  <a:pt x="346" y="689"/>
                  <a:pt x="346" y="689"/>
                  <a:pt x="346" y="689"/>
                </a:cubicBezTo>
                <a:cubicBezTo>
                  <a:pt x="346" y="548"/>
                  <a:pt x="346" y="548"/>
                  <a:pt x="346" y="548"/>
                </a:cubicBezTo>
                <a:cubicBezTo>
                  <a:pt x="337" y="539"/>
                  <a:pt x="326" y="523"/>
                  <a:pt x="326" y="502"/>
                </a:cubicBezTo>
                <a:cubicBezTo>
                  <a:pt x="326" y="466"/>
                  <a:pt x="355" y="437"/>
                  <a:pt x="390" y="437"/>
                </a:cubicBezTo>
                <a:cubicBezTo>
                  <a:pt x="426" y="437"/>
                  <a:pt x="455" y="466"/>
                  <a:pt x="455" y="502"/>
                </a:cubicBezTo>
                <a:cubicBezTo>
                  <a:pt x="455" y="521"/>
                  <a:pt x="446" y="536"/>
                  <a:pt x="434" y="549"/>
                </a:cubicBezTo>
                <a:close/>
                <a:moveTo>
                  <a:pt x="391" y="466"/>
                </a:moveTo>
                <a:cubicBezTo>
                  <a:pt x="371" y="466"/>
                  <a:pt x="355" y="482"/>
                  <a:pt x="355" y="502"/>
                </a:cubicBezTo>
                <a:cubicBezTo>
                  <a:pt x="355" y="522"/>
                  <a:pt x="371" y="538"/>
                  <a:pt x="391" y="538"/>
                </a:cubicBezTo>
                <a:cubicBezTo>
                  <a:pt x="411" y="538"/>
                  <a:pt x="427" y="522"/>
                  <a:pt x="427" y="502"/>
                </a:cubicBezTo>
                <a:cubicBezTo>
                  <a:pt x="427" y="482"/>
                  <a:pt x="411" y="466"/>
                  <a:pt x="391" y="46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2" name="Group 31"/>
          <p:cNvGrpSpPr/>
          <p:nvPr/>
        </p:nvGrpSpPr>
        <p:grpSpPr>
          <a:xfrm>
            <a:off x="356934" y="3088765"/>
            <a:ext cx="805080" cy="548648"/>
            <a:chOff x="430213" y="3795713"/>
            <a:chExt cx="1071562" cy="730250"/>
          </a:xfrm>
          <a:solidFill>
            <a:schemeClr val="accent1"/>
          </a:solidFill>
        </p:grpSpPr>
        <p:sp>
          <p:nvSpPr>
            <p:cNvPr id="33" name="Freeform 69"/>
            <p:cNvSpPr>
              <a:spLocks/>
            </p:cNvSpPr>
            <p:nvPr/>
          </p:nvSpPr>
          <p:spPr bwMode="auto">
            <a:xfrm>
              <a:off x="519113" y="3795713"/>
              <a:ext cx="890587" cy="571500"/>
            </a:xfrm>
            <a:custGeom>
              <a:avLst/>
              <a:gdLst>
                <a:gd name="T0" fmla="*/ 19 w 299"/>
                <a:gd name="T1" fmla="*/ 192 h 192"/>
                <a:gd name="T2" fmla="*/ 19 w 299"/>
                <a:gd name="T3" fmla="*/ 20 h 192"/>
                <a:gd name="T4" fmla="*/ 281 w 299"/>
                <a:gd name="T5" fmla="*/ 20 h 192"/>
                <a:gd name="T6" fmla="*/ 281 w 299"/>
                <a:gd name="T7" fmla="*/ 192 h 192"/>
                <a:gd name="T8" fmla="*/ 299 w 299"/>
                <a:gd name="T9" fmla="*/ 192 h 192"/>
                <a:gd name="T10" fmla="*/ 299 w 299"/>
                <a:gd name="T11" fmla="*/ 18 h 192"/>
                <a:gd name="T12" fmla="*/ 281 w 299"/>
                <a:gd name="T13" fmla="*/ 0 h 192"/>
                <a:gd name="T14" fmla="*/ 18 w 299"/>
                <a:gd name="T15" fmla="*/ 0 h 192"/>
                <a:gd name="T16" fmla="*/ 0 w 299"/>
                <a:gd name="T17" fmla="*/ 18 h 192"/>
                <a:gd name="T18" fmla="*/ 0 w 299"/>
                <a:gd name="T19" fmla="*/ 192 h 192"/>
                <a:gd name="T20" fmla="*/ 19 w 299"/>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9" h="192">
                  <a:moveTo>
                    <a:pt x="19" y="192"/>
                  </a:moveTo>
                  <a:cubicBezTo>
                    <a:pt x="19" y="20"/>
                    <a:pt x="19" y="20"/>
                    <a:pt x="19" y="20"/>
                  </a:cubicBezTo>
                  <a:cubicBezTo>
                    <a:pt x="281" y="20"/>
                    <a:pt x="281" y="20"/>
                    <a:pt x="281" y="20"/>
                  </a:cubicBezTo>
                  <a:cubicBezTo>
                    <a:pt x="281" y="192"/>
                    <a:pt x="281" y="192"/>
                    <a:pt x="281" y="192"/>
                  </a:cubicBezTo>
                  <a:cubicBezTo>
                    <a:pt x="299" y="192"/>
                    <a:pt x="299" y="192"/>
                    <a:pt x="299" y="192"/>
                  </a:cubicBezTo>
                  <a:cubicBezTo>
                    <a:pt x="299" y="18"/>
                    <a:pt x="299" y="18"/>
                    <a:pt x="299" y="18"/>
                  </a:cubicBezTo>
                  <a:cubicBezTo>
                    <a:pt x="299" y="8"/>
                    <a:pt x="291" y="0"/>
                    <a:pt x="281" y="0"/>
                  </a:cubicBezTo>
                  <a:cubicBezTo>
                    <a:pt x="18" y="0"/>
                    <a:pt x="18" y="0"/>
                    <a:pt x="18" y="0"/>
                  </a:cubicBezTo>
                  <a:cubicBezTo>
                    <a:pt x="9" y="0"/>
                    <a:pt x="0" y="8"/>
                    <a:pt x="0" y="18"/>
                  </a:cubicBezTo>
                  <a:cubicBezTo>
                    <a:pt x="0" y="192"/>
                    <a:pt x="0" y="192"/>
                    <a:pt x="0" y="192"/>
                  </a:cubicBezTo>
                  <a:lnTo>
                    <a:pt x="19"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0"/>
            <p:cNvSpPr>
              <a:spLocks noEditPoints="1"/>
            </p:cNvSpPr>
            <p:nvPr/>
          </p:nvSpPr>
          <p:spPr bwMode="auto">
            <a:xfrm>
              <a:off x="430213" y="4418013"/>
              <a:ext cx="1071562" cy="107950"/>
            </a:xfrm>
            <a:custGeom>
              <a:avLst/>
              <a:gdLst>
                <a:gd name="T0" fmla="*/ 359 w 360"/>
                <a:gd name="T1" fmla="*/ 4 h 36"/>
                <a:gd name="T2" fmla="*/ 353 w 360"/>
                <a:gd name="T3" fmla="*/ 0 h 36"/>
                <a:gd name="T4" fmla="*/ 7 w 360"/>
                <a:gd name="T5" fmla="*/ 0 h 36"/>
                <a:gd name="T6" fmla="*/ 1 w 360"/>
                <a:gd name="T7" fmla="*/ 4 h 36"/>
                <a:gd name="T8" fmla="*/ 0 w 360"/>
                <a:gd name="T9" fmla="*/ 9 h 36"/>
                <a:gd name="T10" fmla="*/ 0 w 360"/>
                <a:gd name="T11" fmla="*/ 19 h 36"/>
                <a:gd name="T12" fmla="*/ 19 w 360"/>
                <a:gd name="T13" fmla="*/ 36 h 36"/>
                <a:gd name="T14" fmla="*/ 341 w 360"/>
                <a:gd name="T15" fmla="*/ 36 h 36"/>
                <a:gd name="T16" fmla="*/ 360 w 360"/>
                <a:gd name="T17" fmla="*/ 19 h 36"/>
                <a:gd name="T18" fmla="*/ 360 w 360"/>
                <a:gd name="T19" fmla="*/ 19 h 36"/>
                <a:gd name="T20" fmla="*/ 360 w 360"/>
                <a:gd name="T21" fmla="*/ 9 h 36"/>
                <a:gd name="T22" fmla="*/ 359 w 360"/>
                <a:gd name="T23" fmla="*/ 4 h 36"/>
                <a:gd name="T24" fmla="*/ 213 w 360"/>
                <a:gd name="T25" fmla="*/ 20 h 36"/>
                <a:gd name="T26" fmla="*/ 146 w 360"/>
                <a:gd name="T27" fmla="*/ 20 h 36"/>
                <a:gd name="T28" fmla="*/ 141 w 360"/>
                <a:gd name="T29" fmla="*/ 14 h 36"/>
                <a:gd name="T30" fmla="*/ 146 w 360"/>
                <a:gd name="T31" fmla="*/ 9 h 36"/>
                <a:gd name="T32" fmla="*/ 213 w 360"/>
                <a:gd name="T33" fmla="*/ 9 h 36"/>
                <a:gd name="T34" fmla="*/ 219 w 360"/>
                <a:gd name="T35" fmla="*/ 14 h 36"/>
                <a:gd name="T36" fmla="*/ 213 w 360"/>
                <a:gd name="T37" fmla="*/ 20 h 36"/>
                <a:gd name="T38" fmla="*/ 325 w 360"/>
                <a:gd name="T39" fmla="*/ 27 h 36"/>
                <a:gd name="T40" fmla="*/ 315 w 360"/>
                <a:gd name="T41" fmla="*/ 17 h 36"/>
                <a:gd name="T42" fmla="*/ 325 w 360"/>
                <a:gd name="T43" fmla="*/ 7 h 36"/>
                <a:gd name="T44" fmla="*/ 335 w 360"/>
                <a:gd name="T45" fmla="*/ 17 h 36"/>
                <a:gd name="T46" fmla="*/ 325 w 360"/>
                <a:gd name="T4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0" h="36">
                  <a:moveTo>
                    <a:pt x="359" y="4"/>
                  </a:moveTo>
                  <a:cubicBezTo>
                    <a:pt x="358" y="2"/>
                    <a:pt x="356" y="0"/>
                    <a:pt x="353" y="0"/>
                  </a:cubicBezTo>
                  <a:cubicBezTo>
                    <a:pt x="7" y="0"/>
                    <a:pt x="7" y="0"/>
                    <a:pt x="7" y="0"/>
                  </a:cubicBezTo>
                  <a:cubicBezTo>
                    <a:pt x="4" y="0"/>
                    <a:pt x="2" y="2"/>
                    <a:pt x="1" y="4"/>
                  </a:cubicBezTo>
                  <a:cubicBezTo>
                    <a:pt x="0" y="5"/>
                    <a:pt x="0" y="8"/>
                    <a:pt x="0" y="9"/>
                  </a:cubicBezTo>
                  <a:cubicBezTo>
                    <a:pt x="0" y="19"/>
                    <a:pt x="0" y="19"/>
                    <a:pt x="0" y="19"/>
                  </a:cubicBezTo>
                  <a:cubicBezTo>
                    <a:pt x="0" y="28"/>
                    <a:pt x="9" y="36"/>
                    <a:pt x="19" y="36"/>
                  </a:cubicBezTo>
                  <a:cubicBezTo>
                    <a:pt x="341" y="36"/>
                    <a:pt x="341" y="36"/>
                    <a:pt x="341" y="36"/>
                  </a:cubicBezTo>
                  <a:cubicBezTo>
                    <a:pt x="351" y="36"/>
                    <a:pt x="360" y="28"/>
                    <a:pt x="360" y="19"/>
                  </a:cubicBezTo>
                  <a:cubicBezTo>
                    <a:pt x="360" y="19"/>
                    <a:pt x="360" y="19"/>
                    <a:pt x="360" y="19"/>
                  </a:cubicBezTo>
                  <a:cubicBezTo>
                    <a:pt x="360" y="9"/>
                    <a:pt x="360" y="9"/>
                    <a:pt x="360" y="9"/>
                  </a:cubicBezTo>
                  <a:cubicBezTo>
                    <a:pt x="360" y="8"/>
                    <a:pt x="360" y="5"/>
                    <a:pt x="359" y="4"/>
                  </a:cubicBezTo>
                  <a:close/>
                  <a:moveTo>
                    <a:pt x="213" y="20"/>
                  </a:moveTo>
                  <a:cubicBezTo>
                    <a:pt x="146" y="20"/>
                    <a:pt x="146" y="20"/>
                    <a:pt x="146" y="20"/>
                  </a:cubicBezTo>
                  <a:cubicBezTo>
                    <a:pt x="143" y="20"/>
                    <a:pt x="141" y="17"/>
                    <a:pt x="141" y="14"/>
                  </a:cubicBezTo>
                  <a:cubicBezTo>
                    <a:pt x="141" y="11"/>
                    <a:pt x="143" y="9"/>
                    <a:pt x="146" y="9"/>
                  </a:cubicBezTo>
                  <a:cubicBezTo>
                    <a:pt x="213" y="9"/>
                    <a:pt x="213" y="9"/>
                    <a:pt x="213" y="9"/>
                  </a:cubicBezTo>
                  <a:cubicBezTo>
                    <a:pt x="217" y="9"/>
                    <a:pt x="219" y="11"/>
                    <a:pt x="219" y="14"/>
                  </a:cubicBezTo>
                  <a:cubicBezTo>
                    <a:pt x="219" y="17"/>
                    <a:pt x="217" y="20"/>
                    <a:pt x="213" y="20"/>
                  </a:cubicBezTo>
                  <a:close/>
                  <a:moveTo>
                    <a:pt x="325" y="27"/>
                  </a:moveTo>
                  <a:cubicBezTo>
                    <a:pt x="320" y="27"/>
                    <a:pt x="315" y="23"/>
                    <a:pt x="315" y="17"/>
                  </a:cubicBezTo>
                  <a:cubicBezTo>
                    <a:pt x="315" y="11"/>
                    <a:pt x="320" y="7"/>
                    <a:pt x="325" y="7"/>
                  </a:cubicBezTo>
                  <a:cubicBezTo>
                    <a:pt x="331" y="7"/>
                    <a:pt x="335" y="11"/>
                    <a:pt x="335" y="17"/>
                  </a:cubicBezTo>
                  <a:cubicBezTo>
                    <a:pt x="335" y="23"/>
                    <a:pt x="331" y="27"/>
                    <a:pt x="325"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71"/>
            <p:cNvSpPr>
              <a:spLocks noEditPoints="1"/>
            </p:cNvSpPr>
            <p:nvPr/>
          </p:nvSpPr>
          <p:spPr bwMode="auto">
            <a:xfrm>
              <a:off x="820738" y="3911601"/>
              <a:ext cx="290512" cy="411163"/>
            </a:xfrm>
            <a:custGeom>
              <a:avLst/>
              <a:gdLst>
                <a:gd name="T0" fmla="*/ 90 w 98"/>
                <a:gd name="T1" fmla="*/ 66 h 138"/>
                <a:gd name="T2" fmla="*/ 8 w 98"/>
                <a:gd name="T3" fmla="*/ 66 h 138"/>
                <a:gd name="T4" fmla="*/ 0 w 98"/>
                <a:gd name="T5" fmla="*/ 74 h 138"/>
                <a:gd name="T6" fmla="*/ 0 w 98"/>
                <a:gd name="T7" fmla="*/ 82 h 138"/>
                <a:gd name="T8" fmla="*/ 10 w 98"/>
                <a:gd name="T9" fmla="*/ 82 h 138"/>
                <a:gd name="T10" fmla="*/ 15 w 98"/>
                <a:gd name="T11" fmla="*/ 88 h 138"/>
                <a:gd name="T12" fmla="*/ 10 w 98"/>
                <a:gd name="T13" fmla="*/ 93 h 138"/>
                <a:gd name="T14" fmla="*/ 0 w 98"/>
                <a:gd name="T15" fmla="*/ 93 h 138"/>
                <a:gd name="T16" fmla="*/ 0 w 98"/>
                <a:gd name="T17" fmla="*/ 99 h 138"/>
                <a:gd name="T18" fmla="*/ 10 w 98"/>
                <a:gd name="T19" fmla="*/ 99 h 138"/>
                <a:gd name="T20" fmla="*/ 15 w 98"/>
                <a:gd name="T21" fmla="*/ 104 h 138"/>
                <a:gd name="T22" fmla="*/ 10 w 98"/>
                <a:gd name="T23" fmla="*/ 109 h 138"/>
                <a:gd name="T24" fmla="*/ 0 w 98"/>
                <a:gd name="T25" fmla="*/ 109 h 138"/>
                <a:gd name="T26" fmla="*/ 0 w 98"/>
                <a:gd name="T27" fmla="*/ 115 h 138"/>
                <a:gd name="T28" fmla="*/ 10 w 98"/>
                <a:gd name="T29" fmla="*/ 115 h 138"/>
                <a:gd name="T30" fmla="*/ 15 w 98"/>
                <a:gd name="T31" fmla="*/ 121 h 138"/>
                <a:gd name="T32" fmla="*/ 10 w 98"/>
                <a:gd name="T33" fmla="*/ 126 h 138"/>
                <a:gd name="T34" fmla="*/ 0 w 98"/>
                <a:gd name="T35" fmla="*/ 126 h 138"/>
                <a:gd name="T36" fmla="*/ 0 w 98"/>
                <a:gd name="T37" fmla="*/ 130 h 138"/>
                <a:gd name="T38" fmla="*/ 8 w 98"/>
                <a:gd name="T39" fmla="*/ 138 h 138"/>
                <a:gd name="T40" fmla="*/ 90 w 98"/>
                <a:gd name="T41" fmla="*/ 138 h 138"/>
                <a:gd name="T42" fmla="*/ 98 w 98"/>
                <a:gd name="T43" fmla="*/ 130 h 138"/>
                <a:gd name="T44" fmla="*/ 98 w 98"/>
                <a:gd name="T45" fmla="*/ 74 h 138"/>
                <a:gd name="T46" fmla="*/ 90 w 98"/>
                <a:gd name="T47" fmla="*/ 66 h 138"/>
                <a:gd name="T48" fmla="*/ 28 w 98"/>
                <a:gd name="T49" fmla="*/ 33 h 138"/>
                <a:gd name="T50" fmla="*/ 49 w 98"/>
                <a:gd name="T51" fmla="*/ 12 h 138"/>
                <a:gd name="T52" fmla="*/ 70 w 98"/>
                <a:gd name="T53" fmla="*/ 33 h 138"/>
                <a:gd name="T54" fmla="*/ 70 w 98"/>
                <a:gd name="T55" fmla="*/ 58 h 138"/>
                <a:gd name="T56" fmla="*/ 81 w 98"/>
                <a:gd name="T57" fmla="*/ 58 h 138"/>
                <a:gd name="T58" fmla="*/ 81 w 98"/>
                <a:gd name="T59" fmla="*/ 33 h 138"/>
                <a:gd name="T60" fmla="*/ 49 w 98"/>
                <a:gd name="T61" fmla="*/ 0 h 138"/>
                <a:gd name="T62" fmla="*/ 17 w 98"/>
                <a:gd name="T63" fmla="*/ 33 h 138"/>
                <a:gd name="T64" fmla="*/ 17 w 98"/>
                <a:gd name="T65" fmla="*/ 58 h 138"/>
                <a:gd name="T66" fmla="*/ 28 w 98"/>
                <a:gd name="T67" fmla="*/ 58 h 138"/>
                <a:gd name="T68" fmla="*/ 28 w 98"/>
                <a:gd name="T69" fmla="*/ 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 h="138">
                  <a:moveTo>
                    <a:pt x="90" y="66"/>
                  </a:moveTo>
                  <a:cubicBezTo>
                    <a:pt x="8" y="66"/>
                    <a:pt x="8" y="66"/>
                    <a:pt x="8" y="66"/>
                  </a:cubicBezTo>
                  <a:cubicBezTo>
                    <a:pt x="3" y="66"/>
                    <a:pt x="0" y="70"/>
                    <a:pt x="0" y="74"/>
                  </a:cubicBezTo>
                  <a:cubicBezTo>
                    <a:pt x="0" y="82"/>
                    <a:pt x="0" y="82"/>
                    <a:pt x="0" y="82"/>
                  </a:cubicBezTo>
                  <a:cubicBezTo>
                    <a:pt x="10" y="82"/>
                    <a:pt x="10" y="82"/>
                    <a:pt x="10" y="82"/>
                  </a:cubicBezTo>
                  <a:cubicBezTo>
                    <a:pt x="13" y="82"/>
                    <a:pt x="15" y="85"/>
                    <a:pt x="15" y="88"/>
                  </a:cubicBezTo>
                  <a:cubicBezTo>
                    <a:pt x="15" y="90"/>
                    <a:pt x="13" y="93"/>
                    <a:pt x="10" y="93"/>
                  </a:cubicBezTo>
                  <a:cubicBezTo>
                    <a:pt x="0" y="93"/>
                    <a:pt x="0" y="93"/>
                    <a:pt x="0" y="93"/>
                  </a:cubicBezTo>
                  <a:cubicBezTo>
                    <a:pt x="0" y="99"/>
                    <a:pt x="0" y="99"/>
                    <a:pt x="0" y="99"/>
                  </a:cubicBezTo>
                  <a:cubicBezTo>
                    <a:pt x="10" y="99"/>
                    <a:pt x="10" y="99"/>
                    <a:pt x="10" y="99"/>
                  </a:cubicBezTo>
                  <a:cubicBezTo>
                    <a:pt x="13" y="99"/>
                    <a:pt x="15" y="101"/>
                    <a:pt x="15" y="104"/>
                  </a:cubicBezTo>
                  <a:cubicBezTo>
                    <a:pt x="15" y="107"/>
                    <a:pt x="13" y="109"/>
                    <a:pt x="10" y="109"/>
                  </a:cubicBezTo>
                  <a:cubicBezTo>
                    <a:pt x="0" y="109"/>
                    <a:pt x="0" y="109"/>
                    <a:pt x="0" y="109"/>
                  </a:cubicBezTo>
                  <a:cubicBezTo>
                    <a:pt x="0" y="115"/>
                    <a:pt x="0" y="115"/>
                    <a:pt x="0" y="115"/>
                  </a:cubicBezTo>
                  <a:cubicBezTo>
                    <a:pt x="10" y="115"/>
                    <a:pt x="10" y="115"/>
                    <a:pt x="10" y="115"/>
                  </a:cubicBezTo>
                  <a:cubicBezTo>
                    <a:pt x="13" y="115"/>
                    <a:pt x="15" y="118"/>
                    <a:pt x="15" y="121"/>
                  </a:cubicBezTo>
                  <a:cubicBezTo>
                    <a:pt x="15" y="123"/>
                    <a:pt x="13" y="126"/>
                    <a:pt x="10" y="126"/>
                  </a:cubicBezTo>
                  <a:cubicBezTo>
                    <a:pt x="0" y="126"/>
                    <a:pt x="0" y="126"/>
                    <a:pt x="0" y="126"/>
                  </a:cubicBezTo>
                  <a:cubicBezTo>
                    <a:pt x="0" y="130"/>
                    <a:pt x="0" y="130"/>
                    <a:pt x="0" y="130"/>
                  </a:cubicBezTo>
                  <a:cubicBezTo>
                    <a:pt x="0" y="134"/>
                    <a:pt x="3" y="138"/>
                    <a:pt x="8" y="138"/>
                  </a:cubicBezTo>
                  <a:cubicBezTo>
                    <a:pt x="90" y="138"/>
                    <a:pt x="90" y="138"/>
                    <a:pt x="90" y="138"/>
                  </a:cubicBezTo>
                  <a:cubicBezTo>
                    <a:pt x="94" y="138"/>
                    <a:pt x="98" y="134"/>
                    <a:pt x="98" y="130"/>
                  </a:cubicBezTo>
                  <a:cubicBezTo>
                    <a:pt x="98" y="74"/>
                    <a:pt x="98" y="74"/>
                    <a:pt x="98" y="74"/>
                  </a:cubicBezTo>
                  <a:cubicBezTo>
                    <a:pt x="98" y="70"/>
                    <a:pt x="94" y="66"/>
                    <a:pt x="90" y="66"/>
                  </a:cubicBezTo>
                  <a:close/>
                  <a:moveTo>
                    <a:pt x="28" y="33"/>
                  </a:moveTo>
                  <a:cubicBezTo>
                    <a:pt x="28" y="21"/>
                    <a:pt x="37" y="12"/>
                    <a:pt x="49" y="12"/>
                  </a:cubicBezTo>
                  <a:cubicBezTo>
                    <a:pt x="61" y="12"/>
                    <a:pt x="70" y="21"/>
                    <a:pt x="70" y="33"/>
                  </a:cubicBezTo>
                  <a:cubicBezTo>
                    <a:pt x="70" y="58"/>
                    <a:pt x="70" y="58"/>
                    <a:pt x="70" y="58"/>
                  </a:cubicBezTo>
                  <a:cubicBezTo>
                    <a:pt x="81" y="58"/>
                    <a:pt x="81" y="58"/>
                    <a:pt x="81" y="58"/>
                  </a:cubicBezTo>
                  <a:cubicBezTo>
                    <a:pt x="81" y="33"/>
                    <a:pt x="81" y="33"/>
                    <a:pt x="81" y="33"/>
                  </a:cubicBezTo>
                  <a:cubicBezTo>
                    <a:pt x="81" y="15"/>
                    <a:pt x="67" y="0"/>
                    <a:pt x="49" y="0"/>
                  </a:cubicBezTo>
                  <a:cubicBezTo>
                    <a:pt x="31" y="0"/>
                    <a:pt x="17" y="15"/>
                    <a:pt x="17" y="33"/>
                  </a:cubicBezTo>
                  <a:cubicBezTo>
                    <a:pt x="17" y="58"/>
                    <a:pt x="17" y="58"/>
                    <a:pt x="17" y="58"/>
                  </a:cubicBezTo>
                  <a:cubicBezTo>
                    <a:pt x="28" y="58"/>
                    <a:pt x="28" y="58"/>
                    <a:pt x="28" y="58"/>
                  </a:cubicBez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p:cNvGrpSpPr/>
          <p:nvPr/>
        </p:nvGrpSpPr>
        <p:grpSpPr>
          <a:xfrm>
            <a:off x="497813" y="4396385"/>
            <a:ext cx="523323" cy="522427"/>
            <a:chOff x="4116388" y="2203449"/>
            <a:chExt cx="927099" cy="925513"/>
          </a:xfrm>
          <a:solidFill>
            <a:schemeClr val="accent1"/>
          </a:solidFill>
        </p:grpSpPr>
        <p:sp>
          <p:nvSpPr>
            <p:cNvPr id="37" name="Freeform 49"/>
            <p:cNvSpPr>
              <a:spLocks noEditPoints="1"/>
            </p:cNvSpPr>
            <p:nvPr/>
          </p:nvSpPr>
          <p:spPr bwMode="auto">
            <a:xfrm>
              <a:off x="4116388" y="2203449"/>
              <a:ext cx="927099" cy="925513"/>
            </a:xfrm>
            <a:custGeom>
              <a:avLst/>
              <a:gdLst>
                <a:gd name="T0" fmla="*/ 339 w 355"/>
                <a:gd name="T1" fmla="*/ 283 h 354"/>
                <a:gd name="T2" fmla="*/ 263 w 355"/>
                <a:gd name="T3" fmla="*/ 206 h 354"/>
                <a:gd name="T4" fmla="*/ 280 w 355"/>
                <a:gd name="T5" fmla="*/ 140 h 354"/>
                <a:gd name="T6" fmla="*/ 239 w 355"/>
                <a:gd name="T7" fmla="*/ 41 h 354"/>
                <a:gd name="T8" fmla="*/ 140 w 355"/>
                <a:gd name="T9" fmla="*/ 0 h 354"/>
                <a:gd name="T10" fmla="*/ 0 w 355"/>
                <a:gd name="T11" fmla="*/ 140 h 354"/>
                <a:gd name="T12" fmla="*/ 41 w 355"/>
                <a:gd name="T13" fmla="*/ 239 h 354"/>
                <a:gd name="T14" fmla="*/ 140 w 355"/>
                <a:gd name="T15" fmla="*/ 280 h 354"/>
                <a:gd name="T16" fmla="*/ 207 w 355"/>
                <a:gd name="T17" fmla="*/ 262 h 354"/>
                <a:gd name="T18" fmla="*/ 283 w 355"/>
                <a:gd name="T19" fmla="*/ 339 h 354"/>
                <a:gd name="T20" fmla="*/ 339 w 355"/>
                <a:gd name="T21" fmla="*/ 339 h 354"/>
                <a:gd name="T22" fmla="*/ 339 w 355"/>
                <a:gd name="T23" fmla="*/ 283 h 354"/>
                <a:gd name="T24" fmla="*/ 140 w 355"/>
                <a:gd name="T25" fmla="*/ 239 h 354"/>
                <a:gd name="T26" fmla="*/ 69 w 355"/>
                <a:gd name="T27" fmla="*/ 210 h 354"/>
                <a:gd name="T28" fmla="*/ 40 w 355"/>
                <a:gd name="T29" fmla="*/ 140 h 354"/>
                <a:gd name="T30" fmla="*/ 140 w 355"/>
                <a:gd name="T31" fmla="*/ 40 h 354"/>
                <a:gd name="T32" fmla="*/ 239 w 355"/>
                <a:gd name="T33" fmla="*/ 140 h 354"/>
                <a:gd name="T34" fmla="*/ 140 w 355"/>
                <a:gd name="T35" fmla="*/ 2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5" h="354">
                  <a:moveTo>
                    <a:pt x="339" y="283"/>
                  </a:moveTo>
                  <a:cubicBezTo>
                    <a:pt x="263" y="206"/>
                    <a:pt x="263" y="206"/>
                    <a:pt x="263" y="206"/>
                  </a:cubicBezTo>
                  <a:cubicBezTo>
                    <a:pt x="273" y="187"/>
                    <a:pt x="280" y="164"/>
                    <a:pt x="280" y="140"/>
                  </a:cubicBezTo>
                  <a:cubicBezTo>
                    <a:pt x="280" y="102"/>
                    <a:pt x="265" y="67"/>
                    <a:pt x="239" y="41"/>
                  </a:cubicBezTo>
                  <a:cubicBezTo>
                    <a:pt x="212" y="14"/>
                    <a:pt x="177" y="0"/>
                    <a:pt x="140" y="0"/>
                  </a:cubicBezTo>
                  <a:cubicBezTo>
                    <a:pt x="63" y="0"/>
                    <a:pt x="0" y="62"/>
                    <a:pt x="0" y="140"/>
                  </a:cubicBezTo>
                  <a:cubicBezTo>
                    <a:pt x="0" y="177"/>
                    <a:pt x="14" y="212"/>
                    <a:pt x="41" y="239"/>
                  </a:cubicBezTo>
                  <a:cubicBezTo>
                    <a:pt x="67" y="265"/>
                    <a:pt x="102" y="280"/>
                    <a:pt x="140" y="280"/>
                  </a:cubicBezTo>
                  <a:cubicBezTo>
                    <a:pt x="164" y="280"/>
                    <a:pt x="187" y="273"/>
                    <a:pt x="207" y="262"/>
                  </a:cubicBezTo>
                  <a:cubicBezTo>
                    <a:pt x="283" y="339"/>
                    <a:pt x="283" y="339"/>
                    <a:pt x="283" y="339"/>
                  </a:cubicBezTo>
                  <a:cubicBezTo>
                    <a:pt x="299" y="354"/>
                    <a:pt x="324" y="354"/>
                    <a:pt x="339" y="339"/>
                  </a:cubicBezTo>
                  <a:cubicBezTo>
                    <a:pt x="355" y="324"/>
                    <a:pt x="355" y="298"/>
                    <a:pt x="339" y="283"/>
                  </a:cubicBezTo>
                  <a:close/>
                  <a:moveTo>
                    <a:pt x="140" y="239"/>
                  </a:moveTo>
                  <a:cubicBezTo>
                    <a:pt x="113" y="239"/>
                    <a:pt x="88" y="229"/>
                    <a:pt x="69" y="210"/>
                  </a:cubicBezTo>
                  <a:cubicBezTo>
                    <a:pt x="50" y="191"/>
                    <a:pt x="40" y="166"/>
                    <a:pt x="40" y="140"/>
                  </a:cubicBezTo>
                  <a:cubicBezTo>
                    <a:pt x="40" y="85"/>
                    <a:pt x="85" y="40"/>
                    <a:pt x="140" y="40"/>
                  </a:cubicBezTo>
                  <a:cubicBezTo>
                    <a:pt x="195" y="40"/>
                    <a:pt x="239" y="85"/>
                    <a:pt x="239" y="140"/>
                  </a:cubicBezTo>
                  <a:cubicBezTo>
                    <a:pt x="239" y="195"/>
                    <a:pt x="195" y="239"/>
                    <a:pt x="14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8" name="Group 37"/>
            <p:cNvGrpSpPr/>
            <p:nvPr/>
          </p:nvGrpSpPr>
          <p:grpSpPr>
            <a:xfrm>
              <a:off x="4336021" y="2386345"/>
              <a:ext cx="286440" cy="363558"/>
              <a:chOff x="2416175" y="3629025"/>
              <a:chExt cx="742950" cy="942976"/>
            </a:xfrm>
            <a:grpFill/>
          </p:grpSpPr>
          <p:sp>
            <p:nvSpPr>
              <p:cNvPr id="39" name="Freeform 72"/>
              <p:cNvSpPr>
                <a:spLocks/>
              </p:cNvSpPr>
              <p:nvPr/>
            </p:nvSpPr>
            <p:spPr bwMode="auto">
              <a:xfrm>
                <a:off x="2416175" y="4030663"/>
                <a:ext cx="742950" cy="541338"/>
              </a:xfrm>
              <a:custGeom>
                <a:avLst/>
                <a:gdLst>
                  <a:gd name="T0" fmla="*/ 364 w 396"/>
                  <a:gd name="T1" fmla="*/ 0 h 289"/>
                  <a:gd name="T2" fmla="*/ 31 w 396"/>
                  <a:gd name="T3" fmla="*/ 0 h 289"/>
                  <a:gd name="T4" fmla="*/ 0 w 396"/>
                  <a:gd name="T5" fmla="*/ 31 h 289"/>
                  <a:gd name="T6" fmla="*/ 0 w 396"/>
                  <a:gd name="T7" fmla="*/ 64 h 289"/>
                  <a:gd name="T8" fmla="*/ 39 w 396"/>
                  <a:gd name="T9" fmla="*/ 64 h 289"/>
                  <a:gd name="T10" fmla="*/ 61 w 396"/>
                  <a:gd name="T11" fmla="*/ 86 h 289"/>
                  <a:gd name="T12" fmla="*/ 39 w 396"/>
                  <a:gd name="T13" fmla="*/ 107 h 289"/>
                  <a:gd name="T14" fmla="*/ 0 w 396"/>
                  <a:gd name="T15" fmla="*/ 107 h 289"/>
                  <a:gd name="T16" fmla="*/ 0 w 396"/>
                  <a:gd name="T17" fmla="*/ 131 h 289"/>
                  <a:gd name="T18" fmla="*/ 39 w 396"/>
                  <a:gd name="T19" fmla="*/ 131 h 289"/>
                  <a:gd name="T20" fmla="*/ 61 w 396"/>
                  <a:gd name="T21" fmla="*/ 152 h 289"/>
                  <a:gd name="T22" fmla="*/ 39 w 396"/>
                  <a:gd name="T23" fmla="*/ 174 h 289"/>
                  <a:gd name="T24" fmla="*/ 0 w 396"/>
                  <a:gd name="T25" fmla="*/ 174 h 289"/>
                  <a:gd name="T26" fmla="*/ 0 w 396"/>
                  <a:gd name="T27" fmla="*/ 198 h 289"/>
                  <a:gd name="T28" fmla="*/ 39 w 396"/>
                  <a:gd name="T29" fmla="*/ 198 h 289"/>
                  <a:gd name="T30" fmla="*/ 61 w 396"/>
                  <a:gd name="T31" fmla="*/ 219 h 289"/>
                  <a:gd name="T32" fmla="*/ 39 w 396"/>
                  <a:gd name="T33" fmla="*/ 240 h 289"/>
                  <a:gd name="T34" fmla="*/ 0 w 396"/>
                  <a:gd name="T35" fmla="*/ 240 h 289"/>
                  <a:gd name="T36" fmla="*/ 0 w 396"/>
                  <a:gd name="T37" fmla="*/ 258 h 289"/>
                  <a:gd name="T38" fmla="*/ 31 w 396"/>
                  <a:gd name="T39" fmla="*/ 289 h 289"/>
                  <a:gd name="T40" fmla="*/ 364 w 396"/>
                  <a:gd name="T41" fmla="*/ 289 h 289"/>
                  <a:gd name="T42" fmla="*/ 396 w 396"/>
                  <a:gd name="T43" fmla="*/ 258 h 289"/>
                  <a:gd name="T44" fmla="*/ 396 w 396"/>
                  <a:gd name="T45" fmla="*/ 31 h 289"/>
                  <a:gd name="T46" fmla="*/ 364 w 396"/>
                  <a:gd name="T47"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6" h="289">
                    <a:moveTo>
                      <a:pt x="364" y="0"/>
                    </a:moveTo>
                    <a:cubicBezTo>
                      <a:pt x="31" y="0"/>
                      <a:pt x="31" y="0"/>
                      <a:pt x="31" y="0"/>
                    </a:cubicBezTo>
                    <a:cubicBezTo>
                      <a:pt x="14" y="0"/>
                      <a:pt x="0" y="14"/>
                      <a:pt x="0" y="31"/>
                    </a:cubicBezTo>
                    <a:cubicBezTo>
                      <a:pt x="0" y="64"/>
                      <a:pt x="0" y="64"/>
                      <a:pt x="0" y="64"/>
                    </a:cubicBezTo>
                    <a:cubicBezTo>
                      <a:pt x="39" y="64"/>
                      <a:pt x="39" y="64"/>
                      <a:pt x="39" y="64"/>
                    </a:cubicBezTo>
                    <a:cubicBezTo>
                      <a:pt x="51" y="64"/>
                      <a:pt x="61" y="74"/>
                      <a:pt x="61" y="86"/>
                    </a:cubicBezTo>
                    <a:cubicBezTo>
                      <a:pt x="61" y="97"/>
                      <a:pt x="51" y="107"/>
                      <a:pt x="39" y="107"/>
                    </a:cubicBezTo>
                    <a:cubicBezTo>
                      <a:pt x="0" y="107"/>
                      <a:pt x="0" y="107"/>
                      <a:pt x="0" y="107"/>
                    </a:cubicBezTo>
                    <a:cubicBezTo>
                      <a:pt x="0" y="131"/>
                      <a:pt x="0" y="131"/>
                      <a:pt x="0" y="131"/>
                    </a:cubicBezTo>
                    <a:cubicBezTo>
                      <a:pt x="39" y="131"/>
                      <a:pt x="39" y="131"/>
                      <a:pt x="39" y="131"/>
                    </a:cubicBezTo>
                    <a:cubicBezTo>
                      <a:pt x="51" y="131"/>
                      <a:pt x="61" y="141"/>
                      <a:pt x="61" y="152"/>
                    </a:cubicBezTo>
                    <a:cubicBezTo>
                      <a:pt x="61" y="164"/>
                      <a:pt x="51" y="174"/>
                      <a:pt x="39" y="174"/>
                    </a:cubicBezTo>
                    <a:cubicBezTo>
                      <a:pt x="0" y="174"/>
                      <a:pt x="0" y="174"/>
                      <a:pt x="0" y="174"/>
                    </a:cubicBezTo>
                    <a:cubicBezTo>
                      <a:pt x="0" y="198"/>
                      <a:pt x="0" y="198"/>
                      <a:pt x="0" y="198"/>
                    </a:cubicBezTo>
                    <a:cubicBezTo>
                      <a:pt x="39" y="198"/>
                      <a:pt x="39" y="198"/>
                      <a:pt x="39" y="198"/>
                    </a:cubicBezTo>
                    <a:cubicBezTo>
                      <a:pt x="51" y="198"/>
                      <a:pt x="61" y="207"/>
                      <a:pt x="61" y="219"/>
                    </a:cubicBezTo>
                    <a:cubicBezTo>
                      <a:pt x="61" y="231"/>
                      <a:pt x="51" y="240"/>
                      <a:pt x="39" y="240"/>
                    </a:cubicBezTo>
                    <a:cubicBezTo>
                      <a:pt x="0" y="240"/>
                      <a:pt x="0" y="240"/>
                      <a:pt x="0" y="240"/>
                    </a:cubicBezTo>
                    <a:cubicBezTo>
                      <a:pt x="0" y="258"/>
                      <a:pt x="0" y="258"/>
                      <a:pt x="0" y="258"/>
                    </a:cubicBezTo>
                    <a:cubicBezTo>
                      <a:pt x="0" y="275"/>
                      <a:pt x="14" y="289"/>
                      <a:pt x="31" y="289"/>
                    </a:cubicBezTo>
                    <a:cubicBezTo>
                      <a:pt x="364" y="289"/>
                      <a:pt x="364" y="289"/>
                      <a:pt x="364" y="289"/>
                    </a:cubicBezTo>
                    <a:cubicBezTo>
                      <a:pt x="382" y="289"/>
                      <a:pt x="396" y="275"/>
                      <a:pt x="396" y="258"/>
                    </a:cubicBezTo>
                    <a:cubicBezTo>
                      <a:pt x="396" y="31"/>
                      <a:pt x="396" y="31"/>
                      <a:pt x="396" y="31"/>
                    </a:cubicBezTo>
                    <a:cubicBezTo>
                      <a:pt x="396" y="14"/>
                      <a:pt x="382" y="0"/>
                      <a:pt x="3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3"/>
              <p:cNvSpPr>
                <a:spLocks/>
              </p:cNvSpPr>
              <p:nvPr/>
            </p:nvSpPr>
            <p:spPr bwMode="auto">
              <a:xfrm>
                <a:off x="2513013" y="3629025"/>
                <a:ext cx="549275" cy="331788"/>
              </a:xfrm>
              <a:custGeom>
                <a:avLst/>
                <a:gdLst>
                  <a:gd name="T0" fmla="*/ 50 w 292"/>
                  <a:gd name="T1" fmla="*/ 177 h 177"/>
                  <a:gd name="T2" fmla="*/ 50 w 292"/>
                  <a:gd name="T3" fmla="*/ 146 h 177"/>
                  <a:gd name="T4" fmla="*/ 146 w 292"/>
                  <a:gd name="T5" fmla="*/ 50 h 177"/>
                  <a:gd name="T6" fmla="*/ 241 w 292"/>
                  <a:gd name="T7" fmla="*/ 146 h 177"/>
                  <a:gd name="T8" fmla="*/ 241 w 292"/>
                  <a:gd name="T9" fmla="*/ 177 h 177"/>
                  <a:gd name="T10" fmla="*/ 292 w 292"/>
                  <a:gd name="T11" fmla="*/ 177 h 177"/>
                  <a:gd name="T12" fmla="*/ 292 w 292"/>
                  <a:gd name="T13" fmla="*/ 146 h 177"/>
                  <a:gd name="T14" fmla="*/ 146 w 292"/>
                  <a:gd name="T15" fmla="*/ 0 h 177"/>
                  <a:gd name="T16" fmla="*/ 0 w 292"/>
                  <a:gd name="T17" fmla="*/ 146 h 177"/>
                  <a:gd name="T18" fmla="*/ 0 w 292"/>
                  <a:gd name="T19" fmla="*/ 177 h 177"/>
                  <a:gd name="T20" fmla="*/ 50 w 292"/>
                  <a:gd name="T2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2" h="177">
                    <a:moveTo>
                      <a:pt x="50" y="177"/>
                    </a:moveTo>
                    <a:cubicBezTo>
                      <a:pt x="50" y="146"/>
                      <a:pt x="50" y="146"/>
                      <a:pt x="50" y="146"/>
                    </a:cubicBezTo>
                    <a:cubicBezTo>
                      <a:pt x="50" y="93"/>
                      <a:pt x="93" y="51"/>
                      <a:pt x="146" y="50"/>
                    </a:cubicBezTo>
                    <a:cubicBezTo>
                      <a:pt x="199" y="51"/>
                      <a:pt x="241" y="93"/>
                      <a:pt x="241" y="146"/>
                    </a:cubicBezTo>
                    <a:cubicBezTo>
                      <a:pt x="241" y="177"/>
                      <a:pt x="241" y="177"/>
                      <a:pt x="241" y="177"/>
                    </a:cubicBezTo>
                    <a:cubicBezTo>
                      <a:pt x="292" y="177"/>
                      <a:pt x="292" y="177"/>
                      <a:pt x="292" y="177"/>
                    </a:cubicBezTo>
                    <a:cubicBezTo>
                      <a:pt x="292" y="146"/>
                      <a:pt x="292" y="146"/>
                      <a:pt x="292" y="146"/>
                    </a:cubicBezTo>
                    <a:cubicBezTo>
                      <a:pt x="292" y="66"/>
                      <a:pt x="226" y="0"/>
                      <a:pt x="146" y="0"/>
                    </a:cubicBezTo>
                    <a:cubicBezTo>
                      <a:pt x="65" y="0"/>
                      <a:pt x="0" y="66"/>
                      <a:pt x="0" y="146"/>
                    </a:cubicBezTo>
                    <a:cubicBezTo>
                      <a:pt x="0" y="177"/>
                      <a:pt x="0" y="177"/>
                      <a:pt x="0" y="177"/>
                    </a:cubicBezTo>
                    <a:lnTo>
                      <a:pt x="50"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1" name="Group 40"/>
          <p:cNvGrpSpPr/>
          <p:nvPr/>
        </p:nvGrpSpPr>
        <p:grpSpPr>
          <a:xfrm>
            <a:off x="424678" y="5556501"/>
            <a:ext cx="717599" cy="562841"/>
            <a:chOff x="2192338" y="725488"/>
            <a:chExt cx="1155700" cy="906462"/>
          </a:xfrm>
          <a:solidFill>
            <a:schemeClr val="accent1"/>
          </a:solidFill>
        </p:grpSpPr>
        <p:sp>
          <p:nvSpPr>
            <p:cNvPr id="42" name="Freeform 13"/>
            <p:cNvSpPr>
              <a:spLocks/>
            </p:cNvSpPr>
            <p:nvPr/>
          </p:nvSpPr>
          <p:spPr bwMode="auto">
            <a:xfrm>
              <a:off x="2192338" y="1552575"/>
              <a:ext cx="1155700" cy="79375"/>
            </a:xfrm>
            <a:custGeom>
              <a:avLst/>
              <a:gdLst>
                <a:gd name="T0" fmla="*/ 0 w 728"/>
                <a:gd name="T1" fmla="*/ 0 h 50"/>
                <a:gd name="T2" fmla="*/ 728 w 728"/>
                <a:gd name="T3" fmla="*/ 0 h 50"/>
                <a:gd name="T4" fmla="*/ 728 w 728"/>
                <a:gd name="T5" fmla="*/ 50 h 50"/>
                <a:gd name="T6" fmla="*/ 0 w 728"/>
                <a:gd name="T7" fmla="*/ 50 h 50"/>
                <a:gd name="T8" fmla="*/ 0 w 728"/>
                <a:gd name="T9" fmla="*/ 0 h 50"/>
                <a:gd name="T10" fmla="*/ 0 w 728"/>
                <a:gd name="T11" fmla="*/ 0 h 50"/>
              </a:gdLst>
              <a:ahLst/>
              <a:cxnLst>
                <a:cxn ang="0">
                  <a:pos x="T0" y="T1"/>
                </a:cxn>
                <a:cxn ang="0">
                  <a:pos x="T2" y="T3"/>
                </a:cxn>
                <a:cxn ang="0">
                  <a:pos x="T4" y="T5"/>
                </a:cxn>
                <a:cxn ang="0">
                  <a:pos x="T6" y="T7"/>
                </a:cxn>
                <a:cxn ang="0">
                  <a:pos x="T8" y="T9"/>
                </a:cxn>
                <a:cxn ang="0">
                  <a:pos x="T10" y="T11"/>
                </a:cxn>
              </a:cxnLst>
              <a:rect l="0" t="0" r="r" b="b"/>
              <a:pathLst>
                <a:path w="728" h="50">
                  <a:moveTo>
                    <a:pt x="0" y="0"/>
                  </a:moveTo>
                  <a:lnTo>
                    <a:pt x="728" y="0"/>
                  </a:lnTo>
                  <a:lnTo>
                    <a:pt x="728" y="50"/>
                  </a:lnTo>
                  <a:lnTo>
                    <a:pt x="0" y="5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4"/>
            <p:cNvSpPr>
              <a:spLocks/>
            </p:cNvSpPr>
            <p:nvPr/>
          </p:nvSpPr>
          <p:spPr bwMode="auto">
            <a:xfrm>
              <a:off x="2282826" y="1131888"/>
              <a:ext cx="950913" cy="398462"/>
            </a:xfrm>
            <a:custGeom>
              <a:avLst/>
              <a:gdLst>
                <a:gd name="T0" fmla="*/ 50 w 365"/>
                <a:gd name="T1" fmla="*/ 153 h 153"/>
                <a:gd name="T2" fmla="*/ 50 w 365"/>
                <a:gd name="T3" fmla="*/ 148 h 153"/>
                <a:gd name="T4" fmla="*/ 31 w 365"/>
                <a:gd name="T5" fmla="*/ 134 h 153"/>
                <a:gd name="T6" fmla="*/ 11 w 365"/>
                <a:gd name="T7" fmla="*/ 148 h 153"/>
                <a:gd name="T8" fmla="*/ 11 w 365"/>
                <a:gd name="T9" fmla="*/ 153 h 153"/>
                <a:gd name="T10" fmla="*/ 6 w 365"/>
                <a:gd name="T11" fmla="*/ 153 h 153"/>
                <a:gd name="T12" fmla="*/ 0 w 365"/>
                <a:gd name="T13" fmla="*/ 136 h 153"/>
                <a:gd name="T14" fmla="*/ 26 w 365"/>
                <a:gd name="T15" fmla="*/ 107 h 153"/>
                <a:gd name="T16" fmla="*/ 65 w 365"/>
                <a:gd name="T17" fmla="*/ 69 h 153"/>
                <a:gd name="T18" fmla="*/ 81 w 365"/>
                <a:gd name="T19" fmla="*/ 37 h 153"/>
                <a:gd name="T20" fmla="*/ 141 w 365"/>
                <a:gd name="T21" fmla="*/ 0 h 153"/>
                <a:gd name="T22" fmla="*/ 151 w 365"/>
                <a:gd name="T23" fmla="*/ 0 h 153"/>
                <a:gd name="T24" fmla="*/ 197 w 365"/>
                <a:gd name="T25" fmla="*/ 42 h 153"/>
                <a:gd name="T26" fmla="*/ 242 w 365"/>
                <a:gd name="T27" fmla="*/ 0 h 153"/>
                <a:gd name="T28" fmla="*/ 253 w 365"/>
                <a:gd name="T29" fmla="*/ 0 h 153"/>
                <a:gd name="T30" fmla="*/ 317 w 365"/>
                <a:gd name="T31" fmla="*/ 44 h 153"/>
                <a:gd name="T32" fmla="*/ 318 w 365"/>
                <a:gd name="T33" fmla="*/ 46 h 153"/>
                <a:gd name="T34" fmla="*/ 356 w 365"/>
                <a:gd name="T35" fmla="*/ 120 h 153"/>
                <a:gd name="T36" fmla="*/ 338 w 365"/>
                <a:gd name="T37" fmla="*/ 153 h 153"/>
                <a:gd name="T38" fmla="*/ 298 w 365"/>
                <a:gd name="T39" fmla="*/ 153 h 153"/>
                <a:gd name="T40" fmla="*/ 284 w 365"/>
                <a:gd name="T41" fmla="*/ 153 h 153"/>
                <a:gd name="T42" fmla="*/ 287 w 365"/>
                <a:gd name="T43" fmla="*/ 144 h 153"/>
                <a:gd name="T44" fmla="*/ 292 w 365"/>
                <a:gd name="T45" fmla="*/ 62 h 153"/>
                <a:gd name="T46" fmla="*/ 273 w 365"/>
                <a:gd name="T47" fmla="*/ 42 h 153"/>
                <a:gd name="T48" fmla="*/ 121 w 365"/>
                <a:gd name="T49" fmla="*/ 42 h 153"/>
                <a:gd name="T50" fmla="*/ 102 w 365"/>
                <a:gd name="T51" fmla="*/ 62 h 153"/>
                <a:gd name="T52" fmla="*/ 107 w 365"/>
                <a:gd name="T53" fmla="*/ 144 h 153"/>
                <a:gd name="T54" fmla="*/ 110 w 365"/>
                <a:gd name="T55" fmla="*/ 153 h 153"/>
                <a:gd name="T56" fmla="*/ 50 w 365"/>
                <a:gd name="T5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53">
                  <a:moveTo>
                    <a:pt x="50" y="153"/>
                  </a:moveTo>
                  <a:cubicBezTo>
                    <a:pt x="50" y="152"/>
                    <a:pt x="50" y="150"/>
                    <a:pt x="50" y="148"/>
                  </a:cubicBezTo>
                  <a:cubicBezTo>
                    <a:pt x="50" y="140"/>
                    <a:pt x="41" y="134"/>
                    <a:pt x="31" y="134"/>
                  </a:cubicBezTo>
                  <a:cubicBezTo>
                    <a:pt x="20" y="134"/>
                    <a:pt x="11" y="140"/>
                    <a:pt x="11" y="148"/>
                  </a:cubicBezTo>
                  <a:cubicBezTo>
                    <a:pt x="11" y="150"/>
                    <a:pt x="11" y="152"/>
                    <a:pt x="11" y="153"/>
                  </a:cubicBezTo>
                  <a:cubicBezTo>
                    <a:pt x="6" y="153"/>
                    <a:pt x="6" y="153"/>
                    <a:pt x="6" y="153"/>
                  </a:cubicBezTo>
                  <a:cubicBezTo>
                    <a:pt x="2" y="148"/>
                    <a:pt x="0" y="142"/>
                    <a:pt x="0" y="136"/>
                  </a:cubicBezTo>
                  <a:cubicBezTo>
                    <a:pt x="0" y="123"/>
                    <a:pt x="11" y="111"/>
                    <a:pt x="26" y="107"/>
                  </a:cubicBezTo>
                  <a:cubicBezTo>
                    <a:pt x="44" y="102"/>
                    <a:pt x="57" y="85"/>
                    <a:pt x="65" y="69"/>
                  </a:cubicBezTo>
                  <a:cubicBezTo>
                    <a:pt x="71" y="57"/>
                    <a:pt x="73" y="48"/>
                    <a:pt x="81" y="37"/>
                  </a:cubicBezTo>
                  <a:cubicBezTo>
                    <a:pt x="95" y="17"/>
                    <a:pt x="116" y="0"/>
                    <a:pt x="141" y="0"/>
                  </a:cubicBezTo>
                  <a:cubicBezTo>
                    <a:pt x="151" y="0"/>
                    <a:pt x="151" y="0"/>
                    <a:pt x="151" y="0"/>
                  </a:cubicBezTo>
                  <a:cubicBezTo>
                    <a:pt x="164" y="12"/>
                    <a:pt x="181" y="42"/>
                    <a:pt x="197" y="42"/>
                  </a:cubicBezTo>
                  <a:cubicBezTo>
                    <a:pt x="213" y="42"/>
                    <a:pt x="229" y="13"/>
                    <a:pt x="242" y="0"/>
                  </a:cubicBezTo>
                  <a:cubicBezTo>
                    <a:pt x="253" y="0"/>
                    <a:pt x="253" y="0"/>
                    <a:pt x="253" y="0"/>
                  </a:cubicBezTo>
                  <a:cubicBezTo>
                    <a:pt x="281" y="0"/>
                    <a:pt x="304" y="21"/>
                    <a:pt x="317" y="44"/>
                  </a:cubicBezTo>
                  <a:cubicBezTo>
                    <a:pt x="318" y="45"/>
                    <a:pt x="318" y="46"/>
                    <a:pt x="318" y="46"/>
                  </a:cubicBezTo>
                  <a:cubicBezTo>
                    <a:pt x="326" y="59"/>
                    <a:pt x="347" y="98"/>
                    <a:pt x="356" y="120"/>
                  </a:cubicBezTo>
                  <a:cubicBezTo>
                    <a:pt x="365" y="141"/>
                    <a:pt x="362" y="153"/>
                    <a:pt x="338" y="153"/>
                  </a:cubicBezTo>
                  <a:cubicBezTo>
                    <a:pt x="298" y="153"/>
                    <a:pt x="298" y="153"/>
                    <a:pt x="298" y="153"/>
                  </a:cubicBezTo>
                  <a:cubicBezTo>
                    <a:pt x="284" y="153"/>
                    <a:pt x="284" y="153"/>
                    <a:pt x="284" y="153"/>
                  </a:cubicBezTo>
                  <a:cubicBezTo>
                    <a:pt x="285" y="151"/>
                    <a:pt x="287" y="147"/>
                    <a:pt x="287" y="144"/>
                  </a:cubicBezTo>
                  <a:cubicBezTo>
                    <a:pt x="292" y="62"/>
                    <a:pt x="292" y="62"/>
                    <a:pt x="292" y="62"/>
                  </a:cubicBezTo>
                  <a:cubicBezTo>
                    <a:pt x="293" y="51"/>
                    <a:pt x="283" y="42"/>
                    <a:pt x="273" y="42"/>
                  </a:cubicBezTo>
                  <a:cubicBezTo>
                    <a:pt x="121" y="42"/>
                    <a:pt x="121" y="42"/>
                    <a:pt x="121" y="42"/>
                  </a:cubicBezTo>
                  <a:cubicBezTo>
                    <a:pt x="111" y="42"/>
                    <a:pt x="101" y="51"/>
                    <a:pt x="102" y="62"/>
                  </a:cubicBezTo>
                  <a:cubicBezTo>
                    <a:pt x="107" y="144"/>
                    <a:pt x="107" y="144"/>
                    <a:pt x="107" y="144"/>
                  </a:cubicBezTo>
                  <a:cubicBezTo>
                    <a:pt x="107" y="147"/>
                    <a:pt x="108" y="151"/>
                    <a:pt x="110" y="153"/>
                  </a:cubicBezTo>
                  <a:cubicBezTo>
                    <a:pt x="90" y="153"/>
                    <a:pt x="70" y="153"/>
                    <a:pt x="50"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5"/>
            <p:cNvSpPr>
              <a:spLocks noEditPoints="1"/>
            </p:cNvSpPr>
            <p:nvPr/>
          </p:nvSpPr>
          <p:spPr bwMode="auto">
            <a:xfrm>
              <a:off x="2566988" y="1262063"/>
              <a:ext cx="457200" cy="273050"/>
            </a:xfrm>
            <a:custGeom>
              <a:avLst/>
              <a:gdLst>
                <a:gd name="T0" fmla="*/ 158 w 176"/>
                <a:gd name="T1" fmla="*/ 105 h 105"/>
                <a:gd name="T2" fmla="*/ 18 w 176"/>
                <a:gd name="T3" fmla="*/ 105 h 105"/>
                <a:gd name="T4" fmla="*/ 5 w 176"/>
                <a:gd name="T5" fmla="*/ 93 h 105"/>
                <a:gd name="T6" fmla="*/ 0 w 176"/>
                <a:gd name="T7" fmla="*/ 11 h 105"/>
                <a:gd name="T8" fmla="*/ 3 w 176"/>
                <a:gd name="T9" fmla="*/ 4 h 105"/>
                <a:gd name="T10" fmla="*/ 12 w 176"/>
                <a:gd name="T11" fmla="*/ 0 h 105"/>
                <a:gd name="T12" fmla="*/ 164 w 176"/>
                <a:gd name="T13" fmla="*/ 0 h 105"/>
                <a:gd name="T14" fmla="*/ 173 w 176"/>
                <a:gd name="T15" fmla="*/ 4 h 105"/>
                <a:gd name="T16" fmla="*/ 176 w 176"/>
                <a:gd name="T17" fmla="*/ 11 h 105"/>
                <a:gd name="T18" fmla="*/ 170 w 176"/>
                <a:gd name="T19" fmla="*/ 93 h 105"/>
                <a:gd name="T20" fmla="*/ 158 w 176"/>
                <a:gd name="T21" fmla="*/ 105 h 105"/>
                <a:gd name="T22" fmla="*/ 12 w 176"/>
                <a:gd name="T23" fmla="*/ 3 h 105"/>
                <a:gd name="T24" fmla="*/ 5 w 176"/>
                <a:gd name="T25" fmla="*/ 6 h 105"/>
                <a:gd name="T26" fmla="*/ 3 w 176"/>
                <a:gd name="T27" fmla="*/ 11 h 105"/>
                <a:gd name="T28" fmla="*/ 8 w 176"/>
                <a:gd name="T29" fmla="*/ 93 h 105"/>
                <a:gd name="T30" fmla="*/ 18 w 176"/>
                <a:gd name="T31" fmla="*/ 102 h 105"/>
                <a:gd name="T32" fmla="*/ 158 w 176"/>
                <a:gd name="T33" fmla="*/ 102 h 105"/>
                <a:gd name="T34" fmla="*/ 167 w 176"/>
                <a:gd name="T35" fmla="*/ 93 h 105"/>
                <a:gd name="T36" fmla="*/ 173 w 176"/>
                <a:gd name="T37" fmla="*/ 11 h 105"/>
                <a:gd name="T38" fmla="*/ 171 w 176"/>
                <a:gd name="T39" fmla="*/ 6 h 105"/>
                <a:gd name="T40" fmla="*/ 164 w 176"/>
                <a:gd name="T41" fmla="*/ 3 h 105"/>
                <a:gd name="T42" fmla="*/ 12 w 176"/>
                <a:gd name="T43" fmla="*/ 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105">
                  <a:moveTo>
                    <a:pt x="158" y="105"/>
                  </a:moveTo>
                  <a:cubicBezTo>
                    <a:pt x="18" y="105"/>
                    <a:pt x="18" y="105"/>
                    <a:pt x="18" y="105"/>
                  </a:cubicBezTo>
                  <a:cubicBezTo>
                    <a:pt x="11" y="105"/>
                    <a:pt x="6" y="100"/>
                    <a:pt x="5" y="93"/>
                  </a:cubicBezTo>
                  <a:cubicBezTo>
                    <a:pt x="0" y="11"/>
                    <a:pt x="0" y="11"/>
                    <a:pt x="0" y="11"/>
                  </a:cubicBezTo>
                  <a:cubicBezTo>
                    <a:pt x="0" y="8"/>
                    <a:pt x="1" y="6"/>
                    <a:pt x="3" y="4"/>
                  </a:cubicBezTo>
                  <a:cubicBezTo>
                    <a:pt x="5" y="1"/>
                    <a:pt x="9" y="0"/>
                    <a:pt x="12" y="0"/>
                  </a:cubicBezTo>
                  <a:cubicBezTo>
                    <a:pt x="164" y="0"/>
                    <a:pt x="164" y="0"/>
                    <a:pt x="164" y="0"/>
                  </a:cubicBezTo>
                  <a:cubicBezTo>
                    <a:pt x="167" y="0"/>
                    <a:pt x="171" y="1"/>
                    <a:pt x="173" y="4"/>
                  </a:cubicBezTo>
                  <a:cubicBezTo>
                    <a:pt x="175" y="6"/>
                    <a:pt x="176" y="9"/>
                    <a:pt x="176" y="11"/>
                  </a:cubicBezTo>
                  <a:cubicBezTo>
                    <a:pt x="170" y="93"/>
                    <a:pt x="170" y="93"/>
                    <a:pt x="170" y="93"/>
                  </a:cubicBezTo>
                  <a:cubicBezTo>
                    <a:pt x="170" y="100"/>
                    <a:pt x="165" y="105"/>
                    <a:pt x="158" y="105"/>
                  </a:cubicBezTo>
                  <a:close/>
                  <a:moveTo>
                    <a:pt x="12" y="3"/>
                  </a:moveTo>
                  <a:cubicBezTo>
                    <a:pt x="10" y="3"/>
                    <a:pt x="7" y="4"/>
                    <a:pt x="5" y="6"/>
                  </a:cubicBezTo>
                  <a:cubicBezTo>
                    <a:pt x="4" y="7"/>
                    <a:pt x="3" y="9"/>
                    <a:pt x="3" y="11"/>
                  </a:cubicBezTo>
                  <a:cubicBezTo>
                    <a:pt x="8" y="93"/>
                    <a:pt x="8" y="93"/>
                    <a:pt x="8" y="93"/>
                  </a:cubicBezTo>
                  <a:cubicBezTo>
                    <a:pt x="9" y="98"/>
                    <a:pt x="13" y="102"/>
                    <a:pt x="18" y="102"/>
                  </a:cubicBezTo>
                  <a:cubicBezTo>
                    <a:pt x="158" y="102"/>
                    <a:pt x="158" y="102"/>
                    <a:pt x="158" y="102"/>
                  </a:cubicBezTo>
                  <a:cubicBezTo>
                    <a:pt x="163" y="102"/>
                    <a:pt x="167" y="98"/>
                    <a:pt x="167" y="93"/>
                  </a:cubicBezTo>
                  <a:cubicBezTo>
                    <a:pt x="173" y="11"/>
                    <a:pt x="173" y="11"/>
                    <a:pt x="173" y="11"/>
                  </a:cubicBezTo>
                  <a:cubicBezTo>
                    <a:pt x="173" y="9"/>
                    <a:pt x="172" y="7"/>
                    <a:pt x="171" y="6"/>
                  </a:cubicBezTo>
                  <a:cubicBezTo>
                    <a:pt x="169" y="4"/>
                    <a:pt x="166" y="3"/>
                    <a:pt x="164" y="3"/>
                  </a:cubicBez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6"/>
            <p:cNvSpPr>
              <a:spLocks/>
            </p:cNvSpPr>
            <p:nvPr/>
          </p:nvSpPr>
          <p:spPr bwMode="auto">
            <a:xfrm>
              <a:off x="2743201" y="1111250"/>
              <a:ext cx="101600" cy="130175"/>
            </a:xfrm>
            <a:custGeom>
              <a:avLst/>
              <a:gdLst>
                <a:gd name="T0" fmla="*/ 0 w 39"/>
                <a:gd name="T1" fmla="*/ 49 h 50"/>
                <a:gd name="T2" fmla="*/ 20 w 39"/>
                <a:gd name="T3" fmla="*/ 50 h 50"/>
                <a:gd name="T4" fmla="*/ 39 w 39"/>
                <a:gd name="T5" fmla="*/ 50 h 50"/>
                <a:gd name="T6" fmla="*/ 29 w 39"/>
                <a:gd name="T7" fmla="*/ 16 h 50"/>
                <a:gd name="T8" fmla="*/ 31 w 39"/>
                <a:gd name="T9" fmla="*/ 12 h 50"/>
                <a:gd name="T10" fmla="*/ 31 w 39"/>
                <a:gd name="T11" fmla="*/ 5 h 50"/>
                <a:gd name="T12" fmla="*/ 26 w 39"/>
                <a:gd name="T13" fmla="*/ 0 h 50"/>
                <a:gd name="T14" fmla="*/ 13 w 39"/>
                <a:gd name="T15" fmla="*/ 0 h 50"/>
                <a:gd name="T16" fmla="*/ 9 w 39"/>
                <a:gd name="T17" fmla="*/ 5 h 50"/>
                <a:gd name="T18" fmla="*/ 9 w 39"/>
                <a:gd name="T19" fmla="*/ 12 h 50"/>
                <a:gd name="T20" fmla="*/ 11 w 39"/>
                <a:gd name="T21" fmla="*/ 16 h 50"/>
                <a:gd name="T22" fmla="*/ 0 w 39"/>
                <a:gd name="T23" fmla="*/ 4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50">
                  <a:moveTo>
                    <a:pt x="0" y="49"/>
                  </a:moveTo>
                  <a:cubicBezTo>
                    <a:pt x="0" y="49"/>
                    <a:pt x="7" y="50"/>
                    <a:pt x="20" y="50"/>
                  </a:cubicBezTo>
                  <a:cubicBezTo>
                    <a:pt x="33" y="50"/>
                    <a:pt x="39" y="50"/>
                    <a:pt x="39" y="50"/>
                  </a:cubicBezTo>
                  <a:cubicBezTo>
                    <a:pt x="29" y="16"/>
                    <a:pt x="29" y="16"/>
                    <a:pt x="29" y="16"/>
                  </a:cubicBezTo>
                  <a:cubicBezTo>
                    <a:pt x="30" y="15"/>
                    <a:pt x="31" y="14"/>
                    <a:pt x="31" y="12"/>
                  </a:cubicBezTo>
                  <a:cubicBezTo>
                    <a:pt x="31" y="5"/>
                    <a:pt x="31" y="5"/>
                    <a:pt x="31" y="5"/>
                  </a:cubicBezTo>
                  <a:cubicBezTo>
                    <a:pt x="31" y="2"/>
                    <a:pt x="28" y="0"/>
                    <a:pt x="26" y="0"/>
                  </a:cubicBezTo>
                  <a:cubicBezTo>
                    <a:pt x="13" y="0"/>
                    <a:pt x="13" y="0"/>
                    <a:pt x="13" y="0"/>
                  </a:cubicBezTo>
                  <a:cubicBezTo>
                    <a:pt x="11" y="0"/>
                    <a:pt x="9" y="2"/>
                    <a:pt x="9" y="5"/>
                  </a:cubicBezTo>
                  <a:cubicBezTo>
                    <a:pt x="9" y="12"/>
                    <a:pt x="9" y="12"/>
                    <a:pt x="9" y="12"/>
                  </a:cubicBezTo>
                  <a:cubicBezTo>
                    <a:pt x="9" y="14"/>
                    <a:pt x="10" y="15"/>
                    <a:pt x="11" y="16"/>
                  </a:cubicBez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7"/>
            <p:cNvSpPr>
              <a:spLocks noEditPoints="1"/>
            </p:cNvSpPr>
            <p:nvPr/>
          </p:nvSpPr>
          <p:spPr bwMode="auto">
            <a:xfrm>
              <a:off x="2619376" y="725488"/>
              <a:ext cx="350838" cy="361950"/>
            </a:xfrm>
            <a:custGeom>
              <a:avLst/>
              <a:gdLst>
                <a:gd name="T0" fmla="*/ 68 w 135"/>
                <a:gd name="T1" fmla="*/ 0 h 139"/>
                <a:gd name="T2" fmla="*/ 0 w 135"/>
                <a:gd name="T3" fmla="*/ 69 h 139"/>
                <a:gd name="T4" fmla="*/ 68 w 135"/>
                <a:gd name="T5" fmla="*/ 139 h 139"/>
                <a:gd name="T6" fmla="*/ 135 w 135"/>
                <a:gd name="T7" fmla="*/ 69 h 139"/>
                <a:gd name="T8" fmla="*/ 68 w 135"/>
                <a:gd name="T9" fmla="*/ 0 h 139"/>
                <a:gd name="T10" fmla="*/ 68 w 135"/>
                <a:gd name="T11" fmla="*/ 127 h 139"/>
                <a:gd name="T12" fmla="*/ 12 w 135"/>
                <a:gd name="T13" fmla="*/ 72 h 139"/>
                <a:gd name="T14" fmla="*/ 37 w 135"/>
                <a:gd name="T15" fmla="*/ 28 h 139"/>
                <a:gd name="T16" fmla="*/ 103 w 135"/>
                <a:gd name="T17" fmla="*/ 58 h 139"/>
                <a:gd name="T18" fmla="*/ 122 w 135"/>
                <a:gd name="T19" fmla="*/ 56 h 139"/>
                <a:gd name="T20" fmla="*/ 124 w 135"/>
                <a:gd name="T21" fmla="*/ 69 h 139"/>
                <a:gd name="T22" fmla="*/ 68 w 135"/>
                <a:gd name="T23" fmla="*/ 12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39">
                  <a:moveTo>
                    <a:pt x="68" y="0"/>
                  </a:moveTo>
                  <a:cubicBezTo>
                    <a:pt x="31" y="0"/>
                    <a:pt x="0" y="31"/>
                    <a:pt x="0" y="69"/>
                  </a:cubicBezTo>
                  <a:cubicBezTo>
                    <a:pt x="0" y="108"/>
                    <a:pt x="31" y="139"/>
                    <a:pt x="68" y="139"/>
                  </a:cubicBezTo>
                  <a:cubicBezTo>
                    <a:pt x="105" y="139"/>
                    <a:pt x="135" y="108"/>
                    <a:pt x="135" y="69"/>
                  </a:cubicBezTo>
                  <a:cubicBezTo>
                    <a:pt x="135" y="31"/>
                    <a:pt x="105" y="0"/>
                    <a:pt x="68" y="0"/>
                  </a:cubicBezTo>
                  <a:close/>
                  <a:moveTo>
                    <a:pt x="68" y="127"/>
                  </a:moveTo>
                  <a:cubicBezTo>
                    <a:pt x="38" y="127"/>
                    <a:pt x="14" y="103"/>
                    <a:pt x="12" y="72"/>
                  </a:cubicBezTo>
                  <a:cubicBezTo>
                    <a:pt x="25" y="61"/>
                    <a:pt x="34" y="46"/>
                    <a:pt x="37" y="28"/>
                  </a:cubicBezTo>
                  <a:cubicBezTo>
                    <a:pt x="52" y="46"/>
                    <a:pt x="76" y="58"/>
                    <a:pt x="103" y="58"/>
                  </a:cubicBezTo>
                  <a:cubicBezTo>
                    <a:pt x="110" y="58"/>
                    <a:pt x="116" y="57"/>
                    <a:pt x="122" y="56"/>
                  </a:cubicBezTo>
                  <a:cubicBezTo>
                    <a:pt x="123" y="60"/>
                    <a:pt x="124" y="65"/>
                    <a:pt x="124" y="69"/>
                  </a:cubicBezTo>
                  <a:cubicBezTo>
                    <a:pt x="124" y="101"/>
                    <a:pt x="99" y="127"/>
                    <a:pt x="68"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4212431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1638" y="440714"/>
            <a:ext cx="8345487" cy="332399"/>
          </a:xfrm>
        </p:spPr>
        <p:txBody>
          <a:bodyPr/>
          <a:lstStyle/>
          <a:p>
            <a:pPr>
              <a:lnSpc>
                <a:spcPct val="90000"/>
              </a:lnSpc>
            </a:pPr>
            <a:r>
              <a:rPr lang="en-US" dirty="0"/>
              <a:t>Roles and Responsibilities in the RMF Process</a:t>
            </a:r>
          </a:p>
        </p:txBody>
      </p:sp>
      <p:graphicFrame>
        <p:nvGraphicFramePr>
          <p:cNvPr id="6" name="Table 5"/>
          <p:cNvGraphicFramePr>
            <a:graphicFrameLocks noGrp="1"/>
          </p:cNvGraphicFramePr>
          <p:nvPr>
            <p:extLst>
              <p:ext uri="{D42A27DB-BD31-4B8C-83A1-F6EECF244321}">
                <p14:modId xmlns:p14="http://schemas.microsoft.com/office/powerpoint/2010/main" val="3703452620"/>
              </p:ext>
            </p:extLst>
          </p:nvPr>
        </p:nvGraphicFramePr>
        <p:xfrm>
          <a:off x="289529" y="1170774"/>
          <a:ext cx="8531352" cy="5059624"/>
        </p:xfrm>
        <a:graphic>
          <a:graphicData uri="http://schemas.openxmlformats.org/drawingml/2006/table">
            <a:tbl>
              <a:tblPr firstRow="1" bandRow="1">
                <a:tableStyleId>{5C22544A-7EE6-4342-B048-85BDC9FD1C3A}</a:tableStyleId>
              </a:tblPr>
              <a:tblGrid>
                <a:gridCol w="796382"/>
                <a:gridCol w="2471529"/>
                <a:gridCol w="5263441"/>
              </a:tblGrid>
              <a:tr h="324888">
                <a:tc gridSpan="2">
                  <a:txBody>
                    <a:bodyPr/>
                    <a:lstStyle/>
                    <a:p>
                      <a:pPr algn="ctr"/>
                      <a:r>
                        <a:rPr lang="en-US" sz="1400" dirty="0" smtClean="0"/>
                        <a:t>Role</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t>Responsibilities</a:t>
                      </a:r>
                      <a:endParaRPr lang="en-US" sz="14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r h="1107281">
                <a:tc>
                  <a:txBody>
                    <a:bodyPr/>
                    <a:lstStyle/>
                    <a:p>
                      <a:pPr algn="ct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kern="1200" dirty="0" smtClean="0">
                          <a:solidFill>
                            <a:schemeClr val="dk1"/>
                          </a:solidFill>
                          <a:effectLst/>
                          <a:latin typeface="+mn-lt"/>
                          <a:ea typeface="+mn-ea"/>
                          <a:cs typeface="+mn-cs"/>
                        </a:rPr>
                        <a:t>Information System Owner (ISO) (a.k.a</a:t>
                      </a:r>
                      <a:r>
                        <a:rPr lang="en-US" sz="1300" b="1" kern="1200" baseline="0" dirty="0" smtClean="0">
                          <a:solidFill>
                            <a:schemeClr val="dk1"/>
                          </a:solidFill>
                          <a:effectLst/>
                          <a:latin typeface="+mn-lt"/>
                          <a:ea typeface="+mn-ea"/>
                          <a:cs typeface="+mn-cs"/>
                        </a:rPr>
                        <a:t>. GCA for government systems and ISSM for contractor-owned systems</a:t>
                      </a:r>
                      <a:r>
                        <a:rPr lang="en-US" sz="1300" b="1" kern="1200" dirty="0" smtClean="0">
                          <a:solidFill>
                            <a:schemeClr val="dk1"/>
                          </a:solidFill>
                          <a:effectLst/>
                          <a:latin typeface="+mn-lt"/>
                          <a:ea typeface="+mn-ea"/>
                          <a:cs typeface="+mn-cs"/>
                        </a:rPr>
                        <a:t>)</a:t>
                      </a:r>
                      <a:endParaRPr lang="en-US" sz="13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0" kern="1200" baseline="0" dirty="0" smtClean="0">
                          <a:solidFill>
                            <a:schemeClr val="tx1"/>
                          </a:solidFill>
                          <a:latin typeface="+mn-lt"/>
                          <a:ea typeface="+mn-ea"/>
                          <a:cs typeface="+mn-cs"/>
                        </a:rPr>
                        <a:t>Holds responsibility for the procurement, development, integration, modification, operation, maintenance, and disposal of an IS</a:t>
                      </a:r>
                    </a:p>
                    <a:p>
                      <a:pPr marL="171450" marR="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0" kern="1200" baseline="0" dirty="0" smtClean="0">
                          <a:solidFill>
                            <a:schemeClr val="tx1"/>
                          </a:solidFill>
                          <a:latin typeface="+mn-lt"/>
                          <a:ea typeface="+mn-ea"/>
                          <a:cs typeface="+mn-cs"/>
                        </a:rPr>
                        <a:t>Addresses the operational interests of the user community and ensures compliance with information security require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69955">
                <a:tc>
                  <a:txBody>
                    <a:bodyPr/>
                    <a:lstStyle/>
                    <a:p>
                      <a:pPr algn="ct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smtClean="0"/>
                        <a:t>Information System Security Manager (ISS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dirty="0" smtClean="0">
                          <a:solidFill>
                            <a:schemeClr val="tx1"/>
                          </a:solidFill>
                        </a:rPr>
                        <a:t>Serves as a principal advisor</a:t>
                      </a:r>
                      <a:r>
                        <a:rPr lang="en-US" sz="1300" baseline="0" dirty="0" smtClean="0">
                          <a:solidFill>
                            <a:schemeClr val="tx1"/>
                          </a:solidFill>
                        </a:rPr>
                        <a:t> on all matters, technical and otherwise, involving the security of an IS under her/his purview</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Ensures physical and environmental protection, personnel security, incident handling, and security training and awarenes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Monitors a system and its environment of operation to include developing and updating the System Security Plan (SSP), managing and controlling changes to the system, and assessing the security impact of those change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Must be trained to the level commensurate with the complexity of the contractor’s IS or have a local ISSO who is trained.</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sz="1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69955">
                <a:tc>
                  <a:txBody>
                    <a:bodyPr/>
                    <a:lstStyle/>
                    <a:p>
                      <a:pPr algn="ct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b="1" dirty="0" smtClean="0"/>
                        <a:t>Facility Security Offic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dirty="0" smtClean="0">
                          <a:solidFill>
                            <a:schemeClr val="tx1"/>
                          </a:solidFill>
                        </a:rPr>
                        <a:t>Supports the ISSM in their</a:t>
                      </a:r>
                      <a:r>
                        <a:rPr lang="en-US" sz="1300" baseline="0" dirty="0" smtClean="0">
                          <a:solidFill>
                            <a:schemeClr val="tx1"/>
                          </a:solidFill>
                        </a:rPr>
                        <a:t> efforts to implement security requirements for classified information system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kern="1200" baseline="0" dirty="0" smtClean="0">
                          <a:solidFill>
                            <a:schemeClr val="tx1"/>
                          </a:solidFill>
                          <a:latin typeface="+mn-lt"/>
                          <a:ea typeface="+mn-ea"/>
                          <a:cs typeface="+mn-cs"/>
                        </a:rPr>
                        <a:t>Ensures physical and environmental protection, personnel security, incident handling, and security training and aware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69955">
                <a:tc>
                  <a:txBody>
                    <a:bodyPr/>
                    <a:lstStyle/>
                    <a:p>
                      <a:pPr algn="ct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b="1" dirty="0" smtClean="0"/>
                        <a:t>Information</a:t>
                      </a:r>
                      <a:r>
                        <a:rPr lang="en-US" sz="1300" b="1" baseline="0" dirty="0" smtClean="0"/>
                        <a:t> System Security Officer (ISSO)</a:t>
                      </a:r>
                      <a:endParaRPr lang="en-US" sz="1300" b="1" dirty="0" smtClean="0"/>
                    </a:p>
                    <a:p>
                      <a:pPr algn="ctr"/>
                      <a:endParaRPr lang="en-US" sz="1300" b="1"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dirty="0" smtClean="0">
                          <a:solidFill>
                            <a:schemeClr val="tx1"/>
                          </a:solidFill>
                        </a:rPr>
                        <a:t>If appointed, supports the ISSM</a:t>
                      </a:r>
                      <a:r>
                        <a:rPr lang="en-US" sz="1300" baseline="0" dirty="0" smtClean="0">
                          <a:solidFill>
                            <a:schemeClr val="tx1"/>
                          </a:solidFill>
                        </a:rPr>
                        <a:t> in their efforts to implement security requirements as mandated by NISPOM and DAAPM.</a:t>
                      </a:r>
                      <a:endParaRPr lang="en-US" sz="1300" dirty="0" smtClean="0">
                        <a:solidFill>
                          <a:schemeClr val="tx1"/>
                        </a:solidFill>
                      </a:endParaRP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sz="1300" baseline="0" dirty="0" smtClean="0">
                          <a:solidFill>
                            <a:schemeClr val="tx1"/>
                          </a:solidFill>
                        </a:rPr>
                        <a:t>Configures and manage the IS configuration</a:t>
                      </a:r>
                      <a:endParaRPr lang="en-US" sz="13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 name="Group 4"/>
          <p:cNvGrpSpPr/>
          <p:nvPr/>
        </p:nvGrpSpPr>
        <p:grpSpPr>
          <a:xfrm>
            <a:off x="412890" y="1671844"/>
            <a:ext cx="681934" cy="451457"/>
            <a:chOff x="398463" y="2420938"/>
            <a:chExt cx="1208087" cy="727076"/>
          </a:xfrm>
          <a:solidFill>
            <a:schemeClr val="accent1"/>
          </a:solidFill>
        </p:grpSpPr>
        <p:sp>
          <p:nvSpPr>
            <p:cNvPr id="7" name="Freeform 73"/>
            <p:cNvSpPr>
              <a:spLocks/>
            </p:cNvSpPr>
            <p:nvPr/>
          </p:nvSpPr>
          <p:spPr bwMode="auto">
            <a:xfrm>
              <a:off x="860425" y="2435226"/>
              <a:ext cx="746125" cy="579438"/>
            </a:xfrm>
            <a:custGeom>
              <a:avLst/>
              <a:gdLst>
                <a:gd name="T0" fmla="*/ 281 w 310"/>
                <a:gd name="T1" fmla="*/ 0 h 240"/>
                <a:gd name="T2" fmla="*/ 2 w 310"/>
                <a:gd name="T3" fmla="*/ 0 h 240"/>
                <a:gd name="T4" fmla="*/ 0 w 310"/>
                <a:gd name="T5" fmla="*/ 0 h 240"/>
                <a:gd name="T6" fmla="*/ 21 w 310"/>
                <a:gd name="T7" fmla="*/ 23 h 240"/>
                <a:gd name="T8" fmla="*/ 281 w 310"/>
                <a:gd name="T9" fmla="*/ 23 h 240"/>
                <a:gd name="T10" fmla="*/ 286 w 310"/>
                <a:gd name="T11" fmla="*/ 28 h 240"/>
                <a:gd name="T12" fmla="*/ 286 w 310"/>
                <a:gd name="T13" fmla="*/ 212 h 240"/>
                <a:gd name="T14" fmla="*/ 281 w 310"/>
                <a:gd name="T15" fmla="*/ 217 h 240"/>
                <a:gd name="T16" fmla="*/ 98 w 310"/>
                <a:gd name="T17" fmla="*/ 217 h 240"/>
                <a:gd name="T18" fmla="*/ 103 w 310"/>
                <a:gd name="T19" fmla="*/ 240 h 240"/>
                <a:gd name="T20" fmla="*/ 281 w 310"/>
                <a:gd name="T21" fmla="*/ 240 h 240"/>
                <a:gd name="T22" fmla="*/ 310 w 310"/>
                <a:gd name="T23" fmla="*/ 212 h 240"/>
                <a:gd name="T24" fmla="*/ 310 w 310"/>
                <a:gd name="T25" fmla="*/ 28 h 240"/>
                <a:gd name="T26" fmla="*/ 281 w 310"/>
                <a:gd name="T2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40">
                  <a:moveTo>
                    <a:pt x="281" y="0"/>
                  </a:moveTo>
                  <a:cubicBezTo>
                    <a:pt x="2" y="0"/>
                    <a:pt x="2" y="0"/>
                    <a:pt x="2" y="0"/>
                  </a:cubicBezTo>
                  <a:cubicBezTo>
                    <a:pt x="1" y="0"/>
                    <a:pt x="1" y="0"/>
                    <a:pt x="0" y="0"/>
                  </a:cubicBezTo>
                  <a:cubicBezTo>
                    <a:pt x="11" y="6"/>
                    <a:pt x="14" y="14"/>
                    <a:pt x="21" y="23"/>
                  </a:cubicBezTo>
                  <a:cubicBezTo>
                    <a:pt x="281" y="23"/>
                    <a:pt x="281" y="23"/>
                    <a:pt x="281" y="23"/>
                  </a:cubicBezTo>
                  <a:cubicBezTo>
                    <a:pt x="284" y="23"/>
                    <a:pt x="286" y="25"/>
                    <a:pt x="286" y="28"/>
                  </a:cubicBezTo>
                  <a:cubicBezTo>
                    <a:pt x="286" y="212"/>
                    <a:pt x="286" y="212"/>
                    <a:pt x="286" y="212"/>
                  </a:cubicBezTo>
                  <a:cubicBezTo>
                    <a:pt x="286" y="214"/>
                    <a:pt x="284" y="217"/>
                    <a:pt x="281" y="217"/>
                  </a:cubicBezTo>
                  <a:cubicBezTo>
                    <a:pt x="98" y="217"/>
                    <a:pt x="98" y="217"/>
                    <a:pt x="98" y="217"/>
                  </a:cubicBezTo>
                  <a:cubicBezTo>
                    <a:pt x="103" y="240"/>
                    <a:pt x="103" y="240"/>
                    <a:pt x="103" y="240"/>
                  </a:cubicBezTo>
                  <a:cubicBezTo>
                    <a:pt x="281" y="240"/>
                    <a:pt x="281" y="240"/>
                    <a:pt x="281" y="240"/>
                  </a:cubicBezTo>
                  <a:cubicBezTo>
                    <a:pt x="297" y="240"/>
                    <a:pt x="310" y="227"/>
                    <a:pt x="310" y="212"/>
                  </a:cubicBezTo>
                  <a:cubicBezTo>
                    <a:pt x="310" y="28"/>
                    <a:pt x="310" y="28"/>
                    <a:pt x="310" y="28"/>
                  </a:cubicBezTo>
                  <a:cubicBezTo>
                    <a:pt x="310" y="12"/>
                    <a:pt x="297" y="0"/>
                    <a:pt x="2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74"/>
            <p:cNvSpPr>
              <a:spLocks/>
            </p:cNvSpPr>
            <p:nvPr/>
          </p:nvSpPr>
          <p:spPr bwMode="auto">
            <a:xfrm>
              <a:off x="1120775" y="3060701"/>
              <a:ext cx="333375" cy="87313"/>
            </a:xfrm>
            <a:custGeom>
              <a:avLst/>
              <a:gdLst>
                <a:gd name="T0" fmla="*/ 125 w 139"/>
                <a:gd name="T1" fmla="*/ 17 h 36"/>
                <a:gd name="T2" fmla="*/ 83 w 139"/>
                <a:gd name="T3" fmla="*/ 17 h 36"/>
                <a:gd name="T4" fmla="*/ 83 w 139"/>
                <a:gd name="T5" fmla="*/ 0 h 36"/>
                <a:gd name="T6" fmla="*/ 12 w 139"/>
                <a:gd name="T7" fmla="*/ 0 h 36"/>
                <a:gd name="T8" fmla="*/ 12 w 139"/>
                <a:gd name="T9" fmla="*/ 17 h 36"/>
                <a:gd name="T10" fmla="*/ 3 w 139"/>
                <a:gd name="T11" fmla="*/ 17 h 36"/>
                <a:gd name="T12" fmla="*/ 3 w 139"/>
                <a:gd name="T13" fmla="*/ 20 h 36"/>
                <a:gd name="T14" fmla="*/ 0 w 139"/>
                <a:gd name="T15" fmla="*/ 36 h 36"/>
                <a:gd name="T16" fmla="*/ 139 w 139"/>
                <a:gd name="T17" fmla="*/ 36 h 36"/>
                <a:gd name="T18" fmla="*/ 139 w 139"/>
                <a:gd name="T19" fmla="*/ 32 h 36"/>
                <a:gd name="T20" fmla="*/ 125 w 139"/>
                <a:gd name="T21"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9" h="36">
                  <a:moveTo>
                    <a:pt x="125" y="17"/>
                  </a:moveTo>
                  <a:cubicBezTo>
                    <a:pt x="83" y="17"/>
                    <a:pt x="83" y="17"/>
                    <a:pt x="83" y="17"/>
                  </a:cubicBezTo>
                  <a:cubicBezTo>
                    <a:pt x="83" y="0"/>
                    <a:pt x="83" y="0"/>
                    <a:pt x="83" y="0"/>
                  </a:cubicBezTo>
                  <a:cubicBezTo>
                    <a:pt x="12" y="0"/>
                    <a:pt x="12" y="0"/>
                    <a:pt x="12" y="0"/>
                  </a:cubicBezTo>
                  <a:cubicBezTo>
                    <a:pt x="12" y="17"/>
                    <a:pt x="12" y="17"/>
                    <a:pt x="12" y="17"/>
                  </a:cubicBezTo>
                  <a:cubicBezTo>
                    <a:pt x="3" y="17"/>
                    <a:pt x="3" y="17"/>
                    <a:pt x="3" y="17"/>
                  </a:cubicBezTo>
                  <a:cubicBezTo>
                    <a:pt x="3" y="20"/>
                    <a:pt x="3" y="20"/>
                    <a:pt x="3" y="20"/>
                  </a:cubicBezTo>
                  <a:cubicBezTo>
                    <a:pt x="3" y="26"/>
                    <a:pt x="2" y="31"/>
                    <a:pt x="0" y="36"/>
                  </a:cubicBezTo>
                  <a:cubicBezTo>
                    <a:pt x="139" y="36"/>
                    <a:pt x="139" y="36"/>
                    <a:pt x="139" y="36"/>
                  </a:cubicBezTo>
                  <a:cubicBezTo>
                    <a:pt x="139" y="32"/>
                    <a:pt x="139" y="32"/>
                    <a:pt x="139" y="32"/>
                  </a:cubicBezTo>
                  <a:cubicBezTo>
                    <a:pt x="139" y="24"/>
                    <a:pt x="133" y="17"/>
                    <a:pt x="12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5"/>
            <p:cNvSpPr>
              <a:spLocks/>
            </p:cNvSpPr>
            <p:nvPr/>
          </p:nvSpPr>
          <p:spPr bwMode="auto">
            <a:xfrm>
              <a:off x="1365250" y="2533651"/>
              <a:ext cx="134938" cy="138113"/>
            </a:xfrm>
            <a:custGeom>
              <a:avLst/>
              <a:gdLst>
                <a:gd name="T0" fmla="*/ 44 w 56"/>
                <a:gd name="T1" fmla="*/ 48 h 57"/>
                <a:gd name="T2" fmla="*/ 56 w 56"/>
                <a:gd name="T3" fmla="*/ 3 h 57"/>
                <a:gd name="T4" fmla="*/ 53 w 56"/>
                <a:gd name="T5" fmla="*/ 1 h 57"/>
                <a:gd name="T6" fmla="*/ 8 w 56"/>
                <a:gd name="T7" fmla="*/ 13 h 57"/>
                <a:gd name="T8" fmla="*/ 8 w 56"/>
                <a:gd name="T9" fmla="*/ 15 h 57"/>
                <a:gd name="T10" fmla="*/ 22 w 56"/>
                <a:gd name="T11" fmla="*/ 22 h 57"/>
                <a:gd name="T12" fmla="*/ 0 w 56"/>
                <a:gd name="T13" fmla="*/ 44 h 57"/>
                <a:gd name="T14" fmla="*/ 0 w 56"/>
                <a:gd name="T15" fmla="*/ 47 h 57"/>
                <a:gd name="T16" fmla="*/ 10 w 56"/>
                <a:gd name="T17" fmla="*/ 56 h 57"/>
                <a:gd name="T18" fmla="*/ 13 w 56"/>
                <a:gd name="T19" fmla="*/ 56 h 57"/>
                <a:gd name="T20" fmla="*/ 34 w 56"/>
                <a:gd name="T21" fmla="*/ 35 h 57"/>
                <a:gd name="T22" fmla="*/ 41 w 56"/>
                <a:gd name="T23" fmla="*/ 48 h 57"/>
                <a:gd name="T24" fmla="*/ 44 w 56"/>
                <a:gd name="T25"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7">
                  <a:moveTo>
                    <a:pt x="44" y="48"/>
                  </a:moveTo>
                  <a:cubicBezTo>
                    <a:pt x="56" y="3"/>
                    <a:pt x="56" y="3"/>
                    <a:pt x="56" y="3"/>
                  </a:cubicBezTo>
                  <a:cubicBezTo>
                    <a:pt x="56" y="1"/>
                    <a:pt x="55" y="0"/>
                    <a:pt x="53" y="1"/>
                  </a:cubicBezTo>
                  <a:cubicBezTo>
                    <a:pt x="8" y="13"/>
                    <a:pt x="8" y="13"/>
                    <a:pt x="8" y="13"/>
                  </a:cubicBezTo>
                  <a:cubicBezTo>
                    <a:pt x="7" y="13"/>
                    <a:pt x="6" y="14"/>
                    <a:pt x="8" y="15"/>
                  </a:cubicBezTo>
                  <a:cubicBezTo>
                    <a:pt x="22" y="22"/>
                    <a:pt x="22" y="22"/>
                    <a:pt x="22" y="22"/>
                  </a:cubicBezTo>
                  <a:cubicBezTo>
                    <a:pt x="0" y="44"/>
                    <a:pt x="0" y="44"/>
                    <a:pt x="0" y="44"/>
                  </a:cubicBezTo>
                  <a:cubicBezTo>
                    <a:pt x="0" y="45"/>
                    <a:pt x="0" y="46"/>
                    <a:pt x="0" y="47"/>
                  </a:cubicBezTo>
                  <a:cubicBezTo>
                    <a:pt x="10" y="56"/>
                    <a:pt x="10" y="56"/>
                    <a:pt x="10" y="56"/>
                  </a:cubicBezTo>
                  <a:cubicBezTo>
                    <a:pt x="11" y="57"/>
                    <a:pt x="12" y="57"/>
                    <a:pt x="13" y="56"/>
                  </a:cubicBezTo>
                  <a:cubicBezTo>
                    <a:pt x="34" y="35"/>
                    <a:pt x="34" y="35"/>
                    <a:pt x="34" y="35"/>
                  </a:cubicBezTo>
                  <a:cubicBezTo>
                    <a:pt x="41" y="48"/>
                    <a:pt x="41" y="48"/>
                    <a:pt x="41" y="48"/>
                  </a:cubicBezTo>
                  <a:cubicBezTo>
                    <a:pt x="42" y="50"/>
                    <a:pt x="43" y="50"/>
                    <a:pt x="4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76"/>
            <p:cNvSpPr>
              <a:spLocks/>
            </p:cNvSpPr>
            <p:nvPr/>
          </p:nvSpPr>
          <p:spPr bwMode="auto">
            <a:xfrm>
              <a:off x="398463" y="2420938"/>
              <a:ext cx="690563" cy="727075"/>
            </a:xfrm>
            <a:custGeom>
              <a:avLst/>
              <a:gdLst>
                <a:gd name="T0" fmla="*/ 94 w 287"/>
                <a:gd name="T1" fmla="*/ 163 h 301"/>
                <a:gd name="T2" fmla="*/ 28 w 287"/>
                <a:gd name="T3" fmla="*/ 191 h 301"/>
                <a:gd name="T4" fmla="*/ 0 w 287"/>
                <a:gd name="T5" fmla="*/ 295 h 301"/>
                <a:gd name="T6" fmla="*/ 0 w 287"/>
                <a:gd name="T7" fmla="*/ 301 h 301"/>
                <a:gd name="T8" fmla="*/ 287 w 287"/>
                <a:gd name="T9" fmla="*/ 301 h 301"/>
                <a:gd name="T10" fmla="*/ 287 w 287"/>
                <a:gd name="T11" fmla="*/ 295 h 301"/>
                <a:gd name="T12" fmla="*/ 259 w 287"/>
                <a:gd name="T13" fmla="*/ 191 h 301"/>
                <a:gd name="T14" fmla="*/ 194 w 287"/>
                <a:gd name="T15" fmla="*/ 163 h 301"/>
                <a:gd name="T16" fmla="*/ 175 w 287"/>
                <a:gd name="T17" fmla="*/ 146 h 301"/>
                <a:gd name="T18" fmla="*/ 194 w 287"/>
                <a:gd name="T19" fmla="*/ 113 h 301"/>
                <a:gd name="T20" fmla="*/ 198 w 287"/>
                <a:gd name="T21" fmla="*/ 111 h 301"/>
                <a:gd name="T22" fmla="*/ 204 w 287"/>
                <a:gd name="T23" fmla="*/ 70 h 301"/>
                <a:gd name="T24" fmla="*/ 201 w 287"/>
                <a:gd name="T25" fmla="*/ 68 h 301"/>
                <a:gd name="T26" fmla="*/ 196 w 287"/>
                <a:gd name="T27" fmla="*/ 27 h 301"/>
                <a:gd name="T28" fmla="*/ 147 w 287"/>
                <a:gd name="T29" fmla="*/ 0 h 301"/>
                <a:gd name="T30" fmla="*/ 140 w 287"/>
                <a:gd name="T31" fmla="*/ 0 h 301"/>
                <a:gd name="T32" fmla="*/ 91 w 287"/>
                <a:gd name="T33" fmla="*/ 27 h 301"/>
                <a:gd name="T34" fmla="*/ 86 w 287"/>
                <a:gd name="T35" fmla="*/ 68 h 301"/>
                <a:gd name="T36" fmla="*/ 83 w 287"/>
                <a:gd name="T37" fmla="*/ 70 h 301"/>
                <a:gd name="T38" fmla="*/ 90 w 287"/>
                <a:gd name="T39" fmla="*/ 111 h 301"/>
                <a:gd name="T40" fmla="*/ 94 w 287"/>
                <a:gd name="T41" fmla="*/ 113 h 301"/>
                <a:gd name="T42" fmla="*/ 112 w 287"/>
                <a:gd name="T43" fmla="*/ 146 h 301"/>
                <a:gd name="T44" fmla="*/ 94 w 287"/>
                <a:gd name="T45" fmla="*/ 16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7" h="301">
                  <a:moveTo>
                    <a:pt x="94" y="163"/>
                  </a:moveTo>
                  <a:cubicBezTo>
                    <a:pt x="28" y="191"/>
                    <a:pt x="28" y="191"/>
                    <a:pt x="28" y="191"/>
                  </a:cubicBezTo>
                  <a:cubicBezTo>
                    <a:pt x="2" y="201"/>
                    <a:pt x="0" y="271"/>
                    <a:pt x="0" y="295"/>
                  </a:cubicBezTo>
                  <a:cubicBezTo>
                    <a:pt x="0" y="301"/>
                    <a:pt x="0" y="301"/>
                    <a:pt x="0" y="301"/>
                  </a:cubicBezTo>
                  <a:cubicBezTo>
                    <a:pt x="287" y="301"/>
                    <a:pt x="287" y="301"/>
                    <a:pt x="287" y="301"/>
                  </a:cubicBezTo>
                  <a:cubicBezTo>
                    <a:pt x="287" y="295"/>
                    <a:pt x="287" y="295"/>
                    <a:pt x="287" y="295"/>
                  </a:cubicBezTo>
                  <a:cubicBezTo>
                    <a:pt x="287" y="271"/>
                    <a:pt x="285" y="201"/>
                    <a:pt x="259" y="191"/>
                  </a:cubicBezTo>
                  <a:cubicBezTo>
                    <a:pt x="194" y="163"/>
                    <a:pt x="194" y="163"/>
                    <a:pt x="194" y="163"/>
                  </a:cubicBezTo>
                  <a:cubicBezTo>
                    <a:pt x="184" y="159"/>
                    <a:pt x="177" y="152"/>
                    <a:pt x="175" y="146"/>
                  </a:cubicBezTo>
                  <a:cubicBezTo>
                    <a:pt x="184" y="136"/>
                    <a:pt x="191" y="124"/>
                    <a:pt x="194" y="113"/>
                  </a:cubicBezTo>
                  <a:cubicBezTo>
                    <a:pt x="198" y="111"/>
                    <a:pt x="198" y="111"/>
                    <a:pt x="198" y="111"/>
                  </a:cubicBezTo>
                  <a:cubicBezTo>
                    <a:pt x="203" y="96"/>
                    <a:pt x="205" y="83"/>
                    <a:pt x="204" y="70"/>
                  </a:cubicBezTo>
                  <a:cubicBezTo>
                    <a:pt x="201" y="68"/>
                    <a:pt x="201" y="68"/>
                    <a:pt x="201" y="68"/>
                  </a:cubicBezTo>
                  <a:cubicBezTo>
                    <a:pt x="202" y="57"/>
                    <a:pt x="202" y="37"/>
                    <a:pt x="196" y="27"/>
                  </a:cubicBezTo>
                  <a:cubicBezTo>
                    <a:pt x="188" y="11"/>
                    <a:pt x="165" y="0"/>
                    <a:pt x="147" y="0"/>
                  </a:cubicBezTo>
                  <a:cubicBezTo>
                    <a:pt x="140" y="0"/>
                    <a:pt x="140" y="0"/>
                    <a:pt x="140" y="0"/>
                  </a:cubicBezTo>
                  <a:cubicBezTo>
                    <a:pt x="122" y="0"/>
                    <a:pt x="100" y="11"/>
                    <a:pt x="91" y="27"/>
                  </a:cubicBezTo>
                  <a:cubicBezTo>
                    <a:pt x="86" y="37"/>
                    <a:pt x="85" y="57"/>
                    <a:pt x="86" y="68"/>
                  </a:cubicBezTo>
                  <a:cubicBezTo>
                    <a:pt x="83" y="70"/>
                    <a:pt x="83" y="70"/>
                    <a:pt x="83" y="70"/>
                  </a:cubicBezTo>
                  <a:cubicBezTo>
                    <a:pt x="82" y="83"/>
                    <a:pt x="84" y="96"/>
                    <a:pt x="90" y="111"/>
                  </a:cubicBezTo>
                  <a:cubicBezTo>
                    <a:pt x="94" y="113"/>
                    <a:pt x="94" y="113"/>
                    <a:pt x="94" y="113"/>
                  </a:cubicBezTo>
                  <a:cubicBezTo>
                    <a:pt x="97" y="124"/>
                    <a:pt x="104" y="136"/>
                    <a:pt x="112" y="146"/>
                  </a:cubicBezTo>
                  <a:cubicBezTo>
                    <a:pt x="110" y="152"/>
                    <a:pt x="103" y="159"/>
                    <a:pt x="94"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Freeform 146"/>
          <p:cNvSpPr>
            <a:spLocks noEditPoints="1"/>
          </p:cNvSpPr>
          <p:nvPr/>
        </p:nvSpPr>
        <p:spPr bwMode="auto">
          <a:xfrm>
            <a:off x="372840" y="3015288"/>
            <a:ext cx="679729" cy="532969"/>
          </a:xfrm>
          <a:custGeom>
            <a:avLst/>
            <a:gdLst>
              <a:gd name="T0" fmla="*/ 13 w 412"/>
              <a:gd name="T1" fmla="*/ 0 h 355"/>
              <a:gd name="T2" fmla="*/ 399 w 412"/>
              <a:gd name="T3" fmla="*/ 0 h 355"/>
              <a:gd name="T4" fmla="*/ 399 w 412"/>
              <a:gd name="T5" fmla="*/ 212 h 355"/>
              <a:gd name="T6" fmla="*/ 376 w 412"/>
              <a:gd name="T7" fmla="*/ 212 h 355"/>
              <a:gd name="T8" fmla="*/ 368 w 412"/>
              <a:gd name="T9" fmla="*/ 177 h 355"/>
              <a:gd name="T10" fmla="*/ 314 w 412"/>
              <a:gd name="T11" fmla="*/ 160 h 355"/>
              <a:gd name="T12" fmla="*/ 287 w 412"/>
              <a:gd name="T13" fmla="*/ 129 h 355"/>
              <a:gd name="T14" fmla="*/ 216 w 412"/>
              <a:gd name="T15" fmla="*/ 135 h 355"/>
              <a:gd name="T16" fmla="*/ 202 w 412"/>
              <a:gd name="T17" fmla="*/ 128 h 355"/>
              <a:gd name="T18" fmla="*/ 148 w 412"/>
              <a:gd name="T19" fmla="*/ 127 h 355"/>
              <a:gd name="T20" fmla="*/ 135 w 412"/>
              <a:gd name="T21" fmla="*/ 125 h 355"/>
              <a:gd name="T22" fmla="*/ 87 w 412"/>
              <a:gd name="T23" fmla="*/ 110 h 355"/>
              <a:gd name="T24" fmla="*/ 78 w 412"/>
              <a:gd name="T25" fmla="*/ 132 h 355"/>
              <a:gd name="T26" fmla="*/ 124 w 412"/>
              <a:gd name="T27" fmla="*/ 149 h 355"/>
              <a:gd name="T28" fmla="*/ 137 w 412"/>
              <a:gd name="T29" fmla="*/ 152 h 355"/>
              <a:gd name="T30" fmla="*/ 158 w 412"/>
              <a:gd name="T31" fmla="*/ 156 h 355"/>
              <a:gd name="T32" fmla="*/ 172 w 412"/>
              <a:gd name="T33" fmla="*/ 172 h 355"/>
              <a:gd name="T34" fmla="*/ 168 w 412"/>
              <a:gd name="T35" fmla="*/ 177 h 355"/>
              <a:gd name="T36" fmla="*/ 160 w 412"/>
              <a:gd name="T37" fmla="*/ 212 h 355"/>
              <a:gd name="T38" fmla="*/ 127 w 412"/>
              <a:gd name="T39" fmla="*/ 212 h 355"/>
              <a:gd name="T40" fmla="*/ 119 w 412"/>
              <a:gd name="T41" fmla="*/ 177 h 355"/>
              <a:gd name="T42" fmla="*/ 44 w 412"/>
              <a:gd name="T43" fmla="*/ 177 h 355"/>
              <a:gd name="T44" fmla="*/ 36 w 412"/>
              <a:gd name="T45" fmla="*/ 212 h 355"/>
              <a:gd name="T46" fmla="*/ 13 w 412"/>
              <a:gd name="T47" fmla="*/ 212 h 355"/>
              <a:gd name="T48" fmla="*/ 13 w 412"/>
              <a:gd name="T49" fmla="*/ 0 h 355"/>
              <a:gd name="T50" fmla="*/ 46 w 412"/>
              <a:gd name="T51" fmla="*/ 252 h 355"/>
              <a:gd name="T52" fmla="*/ 117 w 412"/>
              <a:gd name="T53" fmla="*/ 252 h 355"/>
              <a:gd name="T54" fmla="*/ 144 w 412"/>
              <a:gd name="T55" fmla="*/ 278 h 355"/>
              <a:gd name="T56" fmla="*/ 170 w 412"/>
              <a:gd name="T57" fmla="*/ 252 h 355"/>
              <a:gd name="T58" fmla="*/ 242 w 412"/>
              <a:gd name="T59" fmla="*/ 252 h 355"/>
              <a:gd name="T60" fmla="*/ 268 w 412"/>
              <a:gd name="T61" fmla="*/ 278 h 355"/>
              <a:gd name="T62" fmla="*/ 295 w 412"/>
              <a:gd name="T63" fmla="*/ 252 h 355"/>
              <a:gd name="T64" fmla="*/ 366 w 412"/>
              <a:gd name="T65" fmla="*/ 252 h 355"/>
              <a:gd name="T66" fmla="*/ 410 w 412"/>
              <a:gd name="T67" fmla="*/ 327 h 355"/>
              <a:gd name="T68" fmla="*/ 268 w 412"/>
              <a:gd name="T69" fmla="*/ 342 h 355"/>
              <a:gd name="T70" fmla="*/ 144 w 412"/>
              <a:gd name="T71" fmla="*/ 342 h 355"/>
              <a:gd name="T72" fmla="*/ 2 w 412"/>
              <a:gd name="T73" fmla="*/ 327 h 355"/>
              <a:gd name="T74" fmla="*/ 46 w 412"/>
              <a:gd name="T75" fmla="*/ 252 h 355"/>
              <a:gd name="T76" fmla="*/ 346 w 412"/>
              <a:gd name="T77" fmla="*/ 254 h 355"/>
              <a:gd name="T78" fmla="*/ 360 w 412"/>
              <a:gd name="T79" fmla="*/ 182 h 355"/>
              <a:gd name="T80" fmla="*/ 302 w 412"/>
              <a:gd name="T81" fmla="*/ 182 h 355"/>
              <a:gd name="T82" fmla="*/ 315 w 412"/>
              <a:gd name="T83" fmla="*/ 254 h 355"/>
              <a:gd name="T84" fmla="*/ 346 w 412"/>
              <a:gd name="T85" fmla="*/ 254 h 355"/>
              <a:gd name="T86" fmla="*/ 221 w 412"/>
              <a:gd name="T87" fmla="*/ 254 h 355"/>
              <a:gd name="T88" fmla="*/ 235 w 412"/>
              <a:gd name="T89" fmla="*/ 182 h 355"/>
              <a:gd name="T90" fmla="*/ 177 w 412"/>
              <a:gd name="T91" fmla="*/ 182 h 355"/>
              <a:gd name="T92" fmla="*/ 191 w 412"/>
              <a:gd name="T93" fmla="*/ 254 h 355"/>
              <a:gd name="T94" fmla="*/ 221 w 412"/>
              <a:gd name="T95" fmla="*/ 254 h 355"/>
              <a:gd name="T96" fmla="*/ 97 w 412"/>
              <a:gd name="T97" fmla="*/ 254 h 355"/>
              <a:gd name="T98" fmla="*/ 110 w 412"/>
              <a:gd name="T99" fmla="*/ 182 h 355"/>
              <a:gd name="T100" fmla="*/ 52 w 412"/>
              <a:gd name="T101" fmla="*/ 182 h 355"/>
              <a:gd name="T102" fmla="*/ 66 w 412"/>
              <a:gd name="T103" fmla="*/ 254 h 355"/>
              <a:gd name="T104" fmla="*/ 97 w 412"/>
              <a:gd name="T105" fmla="*/ 254 h 355"/>
              <a:gd name="T106" fmla="*/ 267 w 412"/>
              <a:gd name="T107" fmla="*/ 125 h 355"/>
              <a:gd name="T108" fmla="*/ 276 w 412"/>
              <a:gd name="T109" fmla="*/ 59 h 355"/>
              <a:gd name="T110" fmla="*/ 220 w 412"/>
              <a:gd name="T111" fmla="*/ 59 h 355"/>
              <a:gd name="T112" fmla="*/ 229 w 412"/>
              <a:gd name="T113" fmla="*/ 125 h 355"/>
              <a:gd name="T114" fmla="*/ 267 w 412"/>
              <a:gd name="T115" fmla="*/ 12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2" h="355">
                <a:moveTo>
                  <a:pt x="13" y="0"/>
                </a:moveTo>
                <a:cubicBezTo>
                  <a:pt x="399" y="0"/>
                  <a:pt x="399" y="0"/>
                  <a:pt x="399" y="0"/>
                </a:cubicBezTo>
                <a:cubicBezTo>
                  <a:pt x="399" y="212"/>
                  <a:pt x="399" y="212"/>
                  <a:pt x="399" y="212"/>
                </a:cubicBezTo>
                <a:cubicBezTo>
                  <a:pt x="376" y="212"/>
                  <a:pt x="376" y="212"/>
                  <a:pt x="376" y="212"/>
                </a:cubicBezTo>
                <a:cubicBezTo>
                  <a:pt x="377" y="200"/>
                  <a:pt x="375" y="188"/>
                  <a:pt x="368" y="177"/>
                </a:cubicBezTo>
                <a:cubicBezTo>
                  <a:pt x="357" y="159"/>
                  <a:pt x="333" y="153"/>
                  <a:pt x="314" y="160"/>
                </a:cubicBezTo>
                <a:cubicBezTo>
                  <a:pt x="309" y="147"/>
                  <a:pt x="300" y="135"/>
                  <a:pt x="287" y="129"/>
                </a:cubicBezTo>
                <a:cubicBezTo>
                  <a:pt x="267" y="152"/>
                  <a:pt x="238" y="154"/>
                  <a:pt x="216" y="135"/>
                </a:cubicBezTo>
                <a:cubicBezTo>
                  <a:pt x="210" y="130"/>
                  <a:pt x="209" y="129"/>
                  <a:pt x="202" y="128"/>
                </a:cubicBezTo>
                <a:cubicBezTo>
                  <a:pt x="148" y="127"/>
                  <a:pt x="148" y="127"/>
                  <a:pt x="148" y="127"/>
                </a:cubicBezTo>
                <a:cubicBezTo>
                  <a:pt x="144" y="127"/>
                  <a:pt x="139" y="126"/>
                  <a:pt x="135" y="125"/>
                </a:cubicBezTo>
                <a:cubicBezTo>
                  <a:pt x="87" y="110"/>
                  <a:pt x="87" y="110"/>
                  <a:pt x="87" y="110"/>
                </a:cubicBezTo>
                <a:cubicBezTo>
                  <a:pt x="72" y="104"/>
                  <a:pt x="65" y="127"/>
                  <a:pt x="78" y="132"/>
                </a:cubicBezTo>
                <a:cubicBezTo>
                  <a:pt x="124" y="149"/>
                  <a:pt x="124" y="149"/>
                  <a:pt x="124" y="149"/>
                </a:cubicBezTo>
                <a:cubicBezTo>
                  <a:pt x="130" y="151"/>
                  <a:pt x="130" y="151"/>
                  <a:pt x="137" y="152"/>
                </a:cubicBezTo>
                <a:cubicBezTo>
                  <a:pt x="158" y="156"/>
                  <a:pt x="158" y="156"/>
                  <a:pt x="158" y="156"/>
                </a:cubicBezTo>
                <a:cubicBezTo>
                  <a:pt x="170" y="158"/>
                  <a:pt x="172" y="163"/>
                  <a:pt x="172" y="172"/>
                </a:cubicBezTo>
                <a:cubicBezTo>
                  <a:pt x="171" y="174"/>
                  <a:pt x="170" y="175"/>
                  <a:pt x="168" y="177"/>
                </a:cubicBezTo>
                <a:cubicBezTo>
                  <a:pt x="162" y="188"/>
                  <a:pt x="160" y="200"/>
                  <a:pt x="160" y="212"/>
                </a:cubicBezTo>
                <a:cubicBezTo>
                  <a:pt x="127" y="212"/>
                  <a:pt x="127" y="212"/>
                  <a:pt x="127" y="212"/>
                </a:cubicBezTo>
                <a:cubicBezTo>
                  <a:pt x="128" y="200"/>
                  <a:pt x="125" y="188"/>
                  <a:pt x="119" y="177"/>
                </a:cubicBezTo>
                <a:cubicBezTo>
                  <a:pt x="103" y="151"/>
                  <a:pt x="60" y="151"/>
                  <a:pt x="44" y="177"/>
                </a:cubicBezTo>
                <a:cubicBezTo>
                  <a:pt x="37" y="188"/>
                  <a:pt x="35" y="200"/>
                  <a:pt x="36" y="212"/>
                </a:cubicBezTo>
                <a:cubicBezTo>
                  <a:pt x="13" y="212"/>
                  <a:pt x="13" y="212"/>
                  <a:pt x="13" y="212"/>
                </a:cubicBezTo>
                <a:lnTo>
                  <a:pt x="13" y="0"/>
                </a:lnTo>
                <a:close/>
                <a:moveTo>
                  <a:pt x="46" y="252"/>
                </a:moveTo>
                <a:cubicBezTo>
                  <a:pt x="66" y="276"/>
                  <a:pt x="96" y="276"/>
                  <a:pt x="117" y="252"/>
                </a:cubicBezTo>
                <a:cubicBezTo>
                  <a:pt x="128" y="257"/>
                  <a:pt x="137" y="267"/>
                  <a:pt x="144" y="278"/>
                </a:cubicBezTo>
                <a:cubicBezTo>
                  <a:pt x="151" y="267"/>
                  <a:pt x="160" y="257"/>
                  <a:pt x="170" y="252"/>
                </a:cubicBezTo>
                <a:cubicBezTo>
                  <a:pt x="191" y="276"/>
                  <a:pt x="221" y="276"/>
                  <a:pt x="242" y="252"/>
                </a:cubicBezTo>
                <a:cubicBezTo>
                  <a:pt x="252" y="257"/>
                  <a:pt x="261" y="267"/>
                  <a:pt x="268" y="278"/>
                </a:cubicBezTo>
                <a:cubicBezTo>
                  <a:pt x="275" y="267"/>
                  <a:pt x="284" y="257"/>
                  <a:pt x="295" y="252"/>
                </a:cubicBezTo>
                <a:cubicBezTo>
                  <a:pt x="316" y="276"/>
                  <a:pt x="346" y="276"/>
                  <a:pt x="366" y="252"/>
                </a:cubicBezTo>
                <a:cubicBezTo>
                  <a:pt x="393" y="264"/>
                  <a:pt x="408" y="306"/>
                  <a:pt x="410" y="327"/>
                </a:cubicBezTo>
                <a:cubicBezTo>
                  <a:pt x="412" y="351"/>
                  <a:pt x="310" y="355"/>
                  <a:pt x="268" y="342"/>
                </a:cubicBezTo>
                <a:cubicBezTo>
                  <a:pt x="238" y="352"/>
                  <a:pt x="174" y="352"/>
                  <a:pt x="144" y="342"/>
                </a:cubicBezTo>
                <a:cubicBezTo>
                  <a:pt x="102" y="355"/>
                  <a:pt x="0" y="351"/>
                  <a:pt x="2" y="327"/>
                </a:cubicBezTo>
                <a:cubicBezTo>
                  <a:pt x="4" y="306"/>
                  <a:pt x="20" y="264"/>
                  <a:pt x="46" y="252"/>
                </a:cubicBezTo>
                <a:close/>
                <a:moveTo>
                  <a:pt x="346" y="254"/>
                </a:moveTo>
                <a:cubicBezTo>
                  <a:pt x="362" y="241"/>
                  <a:pt x="375" y="208"/>
                  <a:pt x="360" y="182"/>
                </a:cubicBezTo>
                <a:cubicBezTo>
                  <a:pt x="347" y="161"/>
                  <a:pt x="314" y="161"/>
                  <a:pt x="302" y="182"/>
                </a:cubicBezTo>
                <a:cubicBezTo>
                  <a:pt x="286" y="208"/>
                  <a:pt x="300" y="241"/>
                  <a:pt x="315" y="254"/>
                </a:cubicBezTo>
                <a:cubicBezTo>
                  <a:pt x="322" y="259"/>
                  <a:pt x="339" y="259"/>
                  <a:pt x="346" y="254"/>
                </a:cubicBezTo>
                <a:close/>
                <a:moveTo>
                  <a:pt x="221" y="254"/>
                </a:moveTo>
                <a:cubicBezTo>
                  <a:pt x="237" y="241"/>
                  <a:pt x="251" y="208"/>
                  <a:pt x="235" y="182"/>
                </a:cubicBezTo>
                <a:cubicBezTo>
                  <a:pt x="223" y="161"/>
                  <a:pt x="189" y="161"/>
                  <a:pt x="177" y="182"/>
                </a:cubicBezTo>
                <a:cubicBezTo>
                  <a:pt x="161" y="208"/>
                  <a:pt x="175" y="241"/>
                  <a:pt x="191" y="254"/>
                </a:cubicBezTo>
                <a:cubicBezTo>
                  <a:pt x="198" y="259"/>
                  <a:pt x="214" y="259"/>
                  <a:pt x="221" y="254"/>
                </a:cubicBezTo>
                <a:close/>
                <a:moveTo>
                  <a:pt x="97" y="254"/>
                </a:moveTo>
                <a:cubicBezTo>
                  <a:pt x="112" y="241"/>
                  <a:pt x="126" y="208"/>
                  <a:pt x="110" y="182"/>
                </a:cubicBezTo>
                <a:cubicBezTo>
                  <a:pt x="98" y="161"/>
                  <a:pt x="65" y="161"/>
                  <a:pt x="52" y="182"/>
                </a:cubicBezTo>
                <a:cubicBezTo>
                  <a:pt x="37" y="208"/>
                  <a:pt x="50" y="241"/>
                  <a:pt x="66" y="254"/>
                </a:cubicBezTo>
                <a:cubicBezTo>
                  <a:pt x="73" y="259"/>
                  <a:pt x="90" y="259"/>
                  <a:pt x="97" y="254"/>
                </a:cubicBezTo>
                <a:close/>
                <a:moveTo>
                  <a:pt x="267" y="125"/>
                </a:moveTo>
                <a:cubicBezTo>
                  <a:pt x="280" y="111"/>
                  <a:pt x="290" y="82"/>
                  <a:pt x="276" y="59"/>
                </a:cubicBezTo>
                <a:cubicBezTo>
                  <a:pt x="264" y="39"/>
                  <a:pt x="232" y="39"/>
                  <a:pt x="220" y="59"/>
                </a:cubicBezTo>
                <a:cubicBezTo>
                  <a:pt x="206" y="82"/>
                  <a:pt x="216" y="111"/>
                  <a:pt x="229" y="125"/>
                </a:cubicBezTo>
                <a:cubicBezTo>
                  <a:pt x="239" y="136"/>
                  <a:pt x="257" y="136"/>
                  <a:pt x="267" y="12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52"/>
          <p:cNvSpPr>
            <a:spLocks noEditPoints="1"/>
          </p:cNvSpPr>
          <p:nvPr/>
        </p:nvSpPr>
        <p:spPr bwMode="auto">
          <a:xfrm>
            <a:off x="447345" y="4475429"/>
            <a:ext cx="710699" cy="555014"/>
          </a:xfrm>
          <a:custGeom>
            <a:avLst/>
            <a:gdLst>
              <a:gd name="T0" fmla="*/ 376 w 497"/>
              <a:gd name="T1" fmla="*/ 123 h 388"/>
              <a:gd name="T2" fmla="*/ 338 w 497"/>
              <a:gd name="T3" fmla="*/ 186 h 388"/>
              <a:gd name="T4" fmla="*/ 300 w 497"/>
              <a:gd name="T5" fmla="*/ 123 h 388"/>
              <a:gd name="T6" fmla="*/ 231 w 497"/>
              <a:gd name="T7" fmla="*/ 272 h 388"/>
              <a:gd name="T8" fmla="*/ 307 w 497"/>
              <a:gd name="T9" fmla="*/ 185 h 388"/>
              <a:gd name="T10" fmla="*/ 331 w 497"/>
              <a:gd name="T11" fmla="*/ 208 h 388"/>
              <a:gd name="T12" fmla="*/ 324 w 497"/>
              <a:gd name="T13" fmla="*/ 190 h 388"/>
              <a:gd name="T14" fmla="*/ 351 w 497"/>
              <a:gd name="T15" fmla="*/ 195 h 388"/>
              <a:gd name="T16" fmla="*/ 346 w 497"/>
              <a:gd name="T17" fmla="*/ 227 h 388"/>
              <a:gd name="T18" fmla="*/ 424 w 497"/>
              <a:gd name="T19" fmla="*/ 213 h 388"/>
              <a:gd name="T20" fmla="*/ 231 w 497"/>
              <a:gd name="T21" fmla="*/ 272 h 388"/>
              <a:gd name="T22" fmla="*/ 370 w 497"/>
              <a:gd name="T23" fmla="*/ 297 h 388"/>
              <a:gd name="T24" fmla="*/ 261 w 497"/>
              <a:gd name="T25" fmla="*/ 334 h 388"/>
              <a:gd name="T26" fmla="*/ 190 w 497"/>
              <a:gd name="T27" fmla="*/ 284 h 388"/>
              <a:gd name="T28" fmla="*/ 414 w 497"/>
              <a:gd name="T29" fmla="*/ 352 h 388"/>
              <a:gd name="T30" fmla="*/ 206 w 497"/>
              <a:gd name="T31" fmla="*/ 298 h 388"/>
              <a:gd name="T32" fmla="*/ 109 w 497"/>
              <a:gd name="T33" fmla="*/ 169 h 388"/>
              <a:gd name="T34" fmla="*/ 143 w 497"/>
              <a:gd name="T35" fmla="*/ 246 h 388"/>
              <a:gd name="T36" fmla="*/ 85 w 497"/>
              <a:gd name="T37" fmla="*/ 265 h 388"/>
              <a:gd name="T38" fmla="*/ 70 w 497"/>
              <a:gd name="T39" fmla="*/ 215 h 388"/>
              <a:gd name="T40" fmla="*/ 0 w 497"/>
              <a:gd name="T41" fmla="*/ 366 h 388"/>
              <a:gd name="T42" fmla="*/ 74 w 497"/>
              <a:gd name="T43" fmla="*/ 279 h 388"/>
              <a:gd name="T44" fmla="*/ 197 w 497"/>
              <a:gd name="T45" fmla="*/ 305 h 388"/>
              <a:gd name="T46" fmla="*/ 0 w 497"/>
              <a:gd name="T47" fmla="*/ 366 h 388"/>
              <a:gd name="T48" fmla="*/ 293 w 497"/>
              <a:gd name="T49" fmla="*/ 102 h 388"/>
              <a:gd name="T50" fmla="*/ 287 w 497"/>
              <a:gd name="T51" fmla="*/ 0 h 388"/>
              <a:gd name="T52" fmla="*/ 136 w 497"/>
              <a:gd name="T53" fmla="*/ 5 h 388"/>
              <a:gd name="T54" fmla="*/ 141 w 497"/>
              <a:gd name="T55" fmla="*/ 106 h 388"/>
              <a:gd name="T56" fmla="*/ 265 w 497"/>
              <a:gd name="T57" fmla="*/ 132 h 388"/>
              <a:gd name="T58" fmla="*/ 288 w 497"/>
              <a:gd name="T59" fmla="*/ 106 h 388"/>
              <a:gd name="T60" fmla="*/ 285 w 497"/>
              <a:gd name="T61" fmla="*/ 8 h 388"/>
              <a:gd name="T62" fmla="*/ 144 w 497"/>
              <a:gd name="T63" fmla="*/ 98 h 388"/>
              <a:gd name="T64" fmla="*/ 104 w 497"/>
              <a:gd name="T65" fmla="*/ 158 h 388"/>
              <a:gd name="T66" fmla="*/ 149 w 497"/>
              <a:gd name="T67" fmla="*/ 135 h 388"/>
              <a:gd name="T68" fmla="*/ 154 w 497"/>
              <a:gd name="T69" fmla="*/ 114 h 388"/>
              <a:gd name="T70" fmla="*/ 128 w 497"/>
              <a:gd name="T71" fmla="*/ 102 h 388"/>
              <a:gd name="T72" fmla="*/ 18 w 497"/>
              <a:gd name="T73" fmla="*/ 40 h 388"/>
              <a:gd name="T74" fmla="*/ 13 w 497"/>
              <a:gd name="T75" fmla="*/ 131 h 388"/>
              <a:gd name="T76" fmla="*/ 104 w 497"/>
              <a:gd name="T77" fmla="*/ 13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7" h="388">
                <a:moveTo>
                  <a:pt x="338" y="77"/>
                </a:moveTo>
                <a:cubicBezTo>
                  <a:pt x="364" y="77"/>
                  <a:pt x="377" y="97"/>
                  <a:pt x="376" y="123"/>
                </a:cubicBezTo>
                <a:cubicBezTo>
                  <a:pt x="378" y="124"/>
                  <a:pt x="378" y="141"/>
                  <a:pt x="371" y="154"/>
                </a:cubicBezTo>
                <a:cubicBezTo>
                  <a:pt x="367" y="169"/>
                  <a:pt x="351" y="186"/>
                  <a:pt x="338" y="186"/>
                </a:cubicBezTo>
                <a:cubicBezTo>
                  <a:pt x="324" y="186"/>
                  <a:pt x="309" y="169"/>
                  <a:pt x="305" y="154"/>
                </a:cubicBezTo>
                <a:cubicBezTo>
                  <a:pt x="297" y="141"/>
                  <a:pt x="297" y="124"/>
                  <a:pt x="300" y="123"/>
                </a:cubicBezTo>
                <a:cubicBezTo>
                  <a:pt x="298" y="97"/>
                  <a:pt x="311" y="77"/>
                  <a:pt x="338" y="77"/>
                </a:cubicBezTo>
                <a:close/>
                <a:moveTo>
                  <a:pt x="231" y="272"/>
                </a:moveTo>
                <a:cubicBezTo>
                  <a:pt x="235" y="250"/>
                  <a:pt x="236" y="233"/>
                  <a:pt x="252" y="213"/>
                </a:cubicBezTo>
                <a:cubicBezTo>
                  <a:pt x="270" y="189"/>
                  <a:pt x="290" y="197"/>
                  <a:pt x="307" y="185"/>
                </a:cubicBezTo>
                <a:cubicBezTo>
                  <a:pt x="313" y="200"/>
                  <a:pt x="318" y="213"/>
                  <a:pt x="329" y="227"/>
                </a:cubicBezTo>
                <a:cubicBezTo>
                  <a:pt x="331" y="208"/>
                  <a:pt x="331" y="208"/>
                  <a:pt x="331" y="208"/>
                </a:cubicBezTo>
                <a:cubicBezTo>
                  <a:pt x="324" y="195"/>
                  <a:pt x="324" y="195"/>
                  <a:pt x="324" y="195"/>
                </a:cubicBezTo>
                <a:cubicBezTo>
                  <a:pt x="324" y="194"/>
                  <a:pt x="323" y="192"/>
                  <a:pt x="324" y="190"/>
                </a:cubicBezTo>
                <a:cubicBezTo>
                  <a:pt x="331" y="194"/>
                  <a:pt x="344" y="194"/>
                  <a:pt x="351" y="190"/>
                </a:cubicBezTo>
                <a:cubicBezTo>
                  <a:pt x="352" y="192"/>
                  <a:pt x="352" y="194"/>
                  <a:pt x="351" y="195"/>
                </a:cubicBezTo>
                <a:cubicBezTo>
                  <a:pt x="344" y="208"/>
                  <a:pt x="344" y="208"/>
                  <a:pt x="344" y="208"/>
                </a:cubicBezTo>
                <a:cubicBezTo>
                  <a:pt x="346" y="227"/>
                  <a:pt x="346" y="227"/>
                  <a:pt x="346" y="227"/>
                </a:cubicBezTo>
                <a:cubicBezTo>
                  <a:pt x="358" y="213"/>
                  <a:pt x="362" y="200"/>
                  <a:pt x="369" y="185"/>
                </a:cubicBezTo>
                <a:cubicBezTo>
                  <a:pt x="386" y="197"/>
                  <a:pt x="405" y="189"/>
                  <a:pt x="424" y="213"/>
                </a:cubicBezTo>
                <a:cubicBezTo>
                  <a:pt x="439" y="233"/>
                  <a:pt x="440" y="250"/>
                  <a:pt x="445" y="272"/>
                </a:cubicBezTo>
                <a:cubicBezTo>
                  <a:pt x="231" y="272"/>
                  <a:pt x="231" y="272"/>
                  <a:pt x="231" y="272"/>
                </a:cubicBezTo>
                <a:close/>
                <a:moveTo>
                  <a:pt x="306" y="297"/>
                </a:moveTo>
                <a:cubicBezTo>
                  <a:pt x="370" y="297"/>
                  <a:pt x="370" y="297"/>
                  <a:pt x="370" y="297"/>
                </a:cubicBezTo>
                <a:cubicBezTo>
                  <a:pt x="325" y="334"/>
                  <a:pt x="325" y="334"/>
                  <a:pt x="325" y="334"/>
                </a:cubicBezTo>
                <a:cubicBezTo>
                  <a:pt x="261" y="334"/>
                  <a:pt x="261" y="334"/>
                  <a:pt x="261" y="334"/>
                </a:cubicBezTo>
                <a:cubicBezTo>
                  <a:pt x="306" y="297"/>
                  <a:pt x="306" y="297"/>
                  <a:pt x="306" y="297"/>
                </a:cubicBezTo>
                <a:close/>
                <a:moveTo>
                  <a:pt x="190" y="284"/>
                </a:moveTo>
                <a:cubicBezTo>
                  <a:pt x="497" y="284"/>
                  <a:pt x="497" y="284"/>
                  <a:pt x="497" y="284"/>
                </a:cubicBezTo>
                <a:cubicBezTo>
                  <a:pt x="414" y="352"/>
                  <a:pt x="414" y="352"/>
                  <a:pt x="414" y="352"/>
                </a:cubicBezTo>
                <a:cubicBezTo>
                  <a:pt x="227" y="352"/>
                  <a:pt x="227" y="352"/>
                  <a:pt x="227" y="352"/>
                </a:cubicBezTo>
                <a:cubicBezTo>
                  <a:pt x="223" y="333"/>
                  <a:pt x="220" y="316"/>
                  <a:pt x="206" y="298"/>
                </a:cubicBezTo>
                <a:cubicBezTo>
                  <a:pt x="201" y="293"/>
                  <a:pt x="196" y="288"/>
                  <a:pt x="190" y="284"/>
                </a:cubicBezTo>
                <a:close/>
                <a:moveTo>
                  <a:pt x="109" y="169"/>
                </a:moveTo>
                <a:cubicBezTo>
                  <a:pt x="136" y="169"/>
                  <a:pt x="150" y="189"/>
                  <a:pt x="148" y="215"/>
                </a:cubicBezTo>
                <a:cubicBezTo>
                  <a:pt x="150" y="216"/>
                  <a:pt x="150" y="233"/>
                  <a:pt x="143" y="246"/>
                </a:cubicBezTo>
                <a:cubicBezTo>
                  <a:pt x="141" y="254"/>
                  <a:pt x="137" y="261"/>
                  <a:pt x="132" y="266"/>
                </a:cubicBezTo>
                <a:cubicBezTo>
                  <a:pt x="117" y="262"/>
                  <a:pt x="97" y="261"/>
                  <a:pt x="85" y="265"/>
                </a:cubicBezTo>
                <a:cubicBezTo>
                  <a:pt x="81" y="260"/>
                  <a:pt x="77" y="253"/>
                  <a:pt x="75" y="246"/>
                </a:cubicBezTo>
                <a:cubicBezTo>
                  <a:pt x="68" y="233"/>
                  <a:pt x="68" y="216"/>
                  <a:pt x="70" y="215"/>
                </a:cubicBezTo>
                <a:cubicBezTo>
                  <a:pt x="69" y="189"/>
                  <a:pt x="82" y="169"/>
                  <a:pt x="109" y="169"/>
                </a:cubicBezTo>
                <a:close/>
                <a:moveTo>
                  <a:pt x="0" y="366"/>
                </a:moveTo>
                <a:cubicBezTo>
                  <a:pt x="5" y="344"/>
                  <a:pt x="6" y="325"/>
                  <a:pt x="21" y="305"/>
                </a:cubicBezTo>
                <a:cubicBezTo>
                  <a:pt x="39" y="283"/>
                  <a:pt x="57" y="288"/>
                  <a:pt x="74" y="279"/>
                </a:cubicBezTo>
                <a:cubicBezTo>
                  <a:pt x="83" y="265"/>
                  <a:pt x="129" y="268"/>
                  <a:pt x="146" y="280"/>
                </a:cubicBezTo>
                <a:cubicBezTo>
                  <a:pt x="162" y="288"/>
                  <a:pt x="180" y="284"/>
                  <a:pt x="197" y="305"/>
                </a:cubicBezTo>
                <a:cubicBezTo>
                  <a:pt x="213" y="325"/>
                  <a:pt x="214" y="344"/>
                  <a:pt x="218" y="366"/>
                </a:cubicBezTo>
                <a:cubicBezTo>
                  <a:pt x="145" y="385"/>
                  <a:pt x="73" y="388"/>
                  <a:pt x="0" y="366"/>
                </a:cubicBezTo>
                <a:close/>
                <a:moveTo>
                  <a:pt x="288" y="106"/>
                </a:moveTo>
                <a:cubicBezTo>
                  <a:pt x="291" y="106"/>
                  <a:pt x="293" y="104"/>
                  <a:pt x="293" y="102"/>
                </a:cubicBezTo>
                <a:cubicBezTo>
                  <a:pt x="293" y="5"/>
                  <a:pt x="293" y="5"/>
                  <a:pt x="293" y="5"/>
                </a:cubicBezTo>
                <a:cubicBezTo>
                  <a:pt x="293" y="1"/>
                  <a:pt x="290" y="0"/>
                  <a:pt x="287" y="0"/>
                </a:cubicBezTo>
                <a:cubicBezTo>
                  <a:pt x="142" y="0"/>
                  <a:pt x="142" y="0"/>
                  <a:pt x="142" y="0"/>
                </a:cubicBezTo>
                <a:cubicBezTo>
                  <a:pt x="139" y="0"/>
                  <a:pt x="136" y="1"/>
                  <a:pt x="136" y="5"/>
                </a:cubicBezTo>
                <a:cubicBezTo>
                  <a:pt x="136" y="102"/>
                  <a:pt x="136" y="102"/>
                  <a:pt x="136" y="102"/>
                </a:cubicBezTo>
                <a:cubicBezTo>
                  <a:pt x="136" y="104"/>
                  <a:pt x="138" y="106"/>
                  <a:pt x="141" y="106"/>
                </a:cubicBezTo>
                <a:cubicBezTo>
                  <a:pt x="244" y="106"/>
                  <a:pt x="244" y="106"/>
                  <a:pt x="244" y="106"/>
                </a:cubicBezTo>
                <a:cubicBezTo>
                  <a:pt x="246" y="118"/>
                  <a:pt x="254" y="126"/>
                  <a:pt x="265" y="132"/>
                </a:cubicBezTo>
                <a:cubicBezTo>
                  <a:pt x="265" y="106"/>
                  <a:pt x="265" y="106"/>
                  <a:pt x="265" y="106"/>
                </a:cubicBezTo>
                <a:cubicBezTo>
                  <a:pt x="288" y="106"/>
                  <a:pt x="288" y="106"/>
                  <a:pt x="288" y="106"/>
                </a:cubicBezTo>
                <a:close/>
                <a:moveTo>
                  <a:pt x="285" y="98"/>
                </a:moveTo>
                <a:cubicBezTo>
                  <a:pt x="285" y="8"/>
                  <a:pt x="285" y="8"/>
                  <a:pt x="285" y="8"/>
                </a:cubicBezTo>
                <a:cubicBezTo>
                  <a:pt x="144" y="8"/>
                  <a:pt x="144" y="8"/>
                  <a:pt x="144" y="8"/>
                </a:cubicBezTo>
                <a:cubicBezTo>
                  <a:pt x="144" y="98"/>
                  <a:pt x="144" y="98"/>
                  <a:pt x="144" y="98"/>
                </a:cubicBezTo>
                <a:cubicBezTo>
                  <a:pt x="216" y="98"/>
                  <a:pt x="246" y="98"/>
                  <a:pt x="285" y="98"/>
                </a:cubicBezTo>
                <a:close/>
                <a:moveTo>
                  <a:pt x="104" y="158"/>
                </a:moveTo>
                <a:cubicBezTo>
                  <a:pt x="114" y="153"/>
                  <a:pt x="121" y="146"/>
                  <a:pt x="123" y="135"/>
                </a:cubicBezTo>
                <a:cubicBezTo>
                  <a:pt x="149" y="135"/>
                  <a:pt x="149" y="135"/>
                  <a:pt x="149" y="135"/>
                </a:cubicBezTo>
                <a:cubicBezTo>
                  <a:pt x="152" y="135"/>
                  <a:pt x="154" y="134"/>
                  <a:pt x="154" y="131"/>
                </a:cubicBezTo>
                <a:cubicBezTo>
                  <a:pt x="154" y="114"/>
                  <a:pt x="154" y="114"/>
                  <a:pt x="154" y="114"/>
                </a:cubicBezTo>
                <a:cubicBezTo>
                  <a:pt x="141" y="114"/>
                  <a:pt x="141" y="114"/>
                  <a:pt x="141" y="114"/>
                </a:cubicBezTo>
                <a:cubicBezTo>
                  <a:pt x="134" y="114"/>
                  <a:pt x="128" y="109"/>
                  <a:pt x="128" y="102"/>
                </a:cubicBezTo>
                <a:cubicBezTo>
                  <a:pt x="128" y="40"/>
                  <a:pt x="128" y="40"/>
                  <a:pt x="128" y="40"/>
                </a:cubicBezTo>
                <a:cubicBezTo>
                  <a:pt x="18" y="40"/>
                  <a:pt x="18" y="40"/>
                  <a:pt x="18" y="40"/>
                </a:cubicBezTo>
                <a:cubicBezTo>
                  <a:pt x="15" y="40"/>
                  <a:pt x="13" y="41"/>
                  <a:pt x="13" y="44"/>
                </a:cubicBezTo>
                <a:cubicBezTo>
                  <a:pt x="13" y="131"/>
                  <a:pt x="13" y="131"/>
                  <a:pt x="13" y="131"/>
                </a:cubicBezTo>
                <a:cubicBezTo>
                  <a:pt x="13" y="134"/>
                  <a:pt x="15" y="135"/>
                  <a:pt x="17" y="135"/>
                </a:cubicBezTo>
                <a:cubicBezTo>
                  <a:pt x="46" y="135"/>
                  <a:pt x="75" y="135"/>
                  <a:pt x="104" y="135"/>
                </a:cubicBezTo>
                <a:cubicBezTo>
                  <a:pt x="104" y="158"/>
                  <a:pt x="104" y="158"/>
                  <a:pt x="104" y="15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880655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2&quot;/&gt;&lt;/elem&gt;&lt;key val=&quot;2&quot;/&gt;&lt;elem&gt;&lt;m_nPartnerID val=&quot;1260&quot;/&gt;&lt;m_nIndex val=&quot;2&quot;/&gt;&lt;/elem&gt;&lt;key val=&quot;4&quot;/&gt;&lt;elem&gt;&lt;m_nPartnerID val=&quot;1260&quot;/&gt;&lt;m_nIndex val=&quot;1&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337"/>
  <p:tag name="MMPROD_NEXTUNIQUEID" val="10009"/>
  <p:tag name="MMPROD_UIDATA" val="&lt;database version=&quot;8.0&quot;&gt;&lt;object type=&quot;1&quot; unique_id=&quot;10001&quot;&gt;&lt;object type=&quot;2&quot; unique_id=&quot;10002&quot;&gt;&lt;object type=&quot;3&quot; unique_id=&quot;589478&quot;&gt;&lt;property id=&quot;20148&quot; value=&quot;5&quot;/&gt;&lt;property id=&quot;20300&quot; value=&quot;Slide 5 - &amp;quot;Today’s Agenda&amp;quot;&quot;/&gt;&lt;property id=&quot;20307&quot; value=&quot;1764&quot;/&gt;&lt;/object&gt;&lt;object type=&quot;3&quot; unique_id=&quot;627770&quot;&gt;&lt;property id=&quot;20148&quot; value=&quot;5&quot;/&gt;&lt;property id=&quot;20300&quot; value=&quot;Slide 1&quot;/&gt;&lt;property id=&quot;20307&quot; value=&quot;1962&quot;/&gt;&lt;/object&gt;&lt;object type=&quot;3&quot; unique_id=&quot;627771&quot;&gt;&lt;property id=&quot;20148&quot; value=&quot;5&quot;/&gt;&lt;property id=&quot;20300&quot; value=&quot;Slide 2 - &amp;quot;Logistics and Ground Rules&amp;quot;&quot;/&gt;&lt;property id=&quot;20307&quot; value=&quot;1966&quot;/&gt;&lt;/object&gt;&lt;object type=&quot;3&quot; unique_id=&quot;627772&quot;&gt;&lt;property id=&quot;20148&quot; value=&quot;5&quot;/&gt;&lt;property id=&quot;20300&quot; value=&quot;Slide 4 - &amp;quot;Course Goal and Objectives&amp;quot;&quot;/&gt;&lt;property id=&quot;20307&quot; value=&quot;1940&quot;/&gt;&lt;/object&gt;&lt;object type=&quot;3&quot; unique_id=&quot;627773&quot;&gt;&lt;property id=&quot;20148&quot; value=&quot;5&quot;/&gt;&lt;property id=&quot;20300&quot; value=&quot;Slide 3 - &amp;quot;Welcome&amp;quot;&quot;/&gt;&lt;property id=&quot;20307&quot; value=&quot;1949&quot;/&gt;&lt;/object&gt;&lt;object type=&quot;3&quot; unique_id=&quot;627774&quot;&gt;&lt;property id=&quot;20148&quot; value=&quot;5&quot;/&gt;&lt;property id=&quot;20300&quot; value=&quot;Slide 6&quot;/&gt;&lt;property id=&quot;20307&quot; value=&quot;1963&quot;/&gt;&lt;/object&gt;&lt;object type=&quot;3&quot; unique_id=&quot;627775&quot;&gt;&lt;property id=&quot;20148&quot; value=&quot;5&quot;/&gt;&lt;property id=&quot;20300&quot; value=&quot;Slide 7 - &amp;quot;What is TOP?&amp;quot;&quot;/&gt;&lt;property id=&quot;20307&quot; value=&quot;1973&quot;/&gt;&lt;/object&gt;&lt;object type=&quot;3&quot; unique_id=&quot;627777&quot;&gt;&lt;property id=&quot;20148&quot; value=&quot;5&quot;/&gt;&lt;property id=&quot;20300&quot; value=&quot;Slide 8 - &amp;quot;Evolution of TOP&amp;quot;&quot;/&gt;&lt;property id=&quot;20307&quot; value=&quot;1972&quot;/&gt;&lt;/object&gt;&lt;object type=&quot;3&quot; unique_id=&quot;627779&quot;&gt;&lt;property id=&quot;20148&quot; value=&quot;5&quot;/&gt;&lt;property id=&quot;20300&quot; value=&quot;Slide 10 - &amp;quot;TOP Benefits to Field Leadership&amp;quot;&quot;/&gt;&lt;property id=&quot;20307&quot; value=&quot;1969&quot;/&gt;&lt;/object&gt;&lt;object type=&quot;3&quot; unique_id=&quot;627780&quot;&gt;&lt;property id=&quot;20148&quot; value=&quot;5&quot;/&gt;&lt;property id=&quot;20300&quot; value=&quot;Slide 11&quot;/&gt;&lt;property id=&quot;20307&quot; value=&quot;1964&quot;/&gt;&lt;/object&gt;&lt;object type=&quot;3&quot; unique_id=&quot;627781&quot;&gt;&lt;property id=&quot;20148&quot; value=&quot;5&quot;/&gt;&lt;property id=&quot;20300&quot; value=&quot;Slide 14 - &amp;quot;TOP 2.0 Process Changes&amp;quot;&quot;/&gt;&lt;property id=&quot;20307&quot; value=&quot;1953&quot;/&gt;&lt;/object&gt;&lt;object type=&quot;3&quot; unique_id=&quot;627782&quot;&gt;&lt;property id=&quot;20148&quot; value=&quot;5&quot;/&gt;&lt;property id=&quot;20300&quot; value=&quot;Slide 15 - &amp;quot;TOP 2.0 Process Changes&amp;quot;&quot;/&gt;&lt;property id=&quot;20307&quot; value=&quot;1956&quot;/&gt;&lt;/object&gt;&lt;object type=&quot;3&quot; unique_id=&quot;627783&quot;&gt;&lt;property id=&quot;20148&quot; value=&quot;5&quot;/&gt;&lt;property id=&quot;20300&quot; value=&quot;Slide 16 - &amp;quot;TOP 2.0 Process Changes&amp;quot;&quot;/&gt;&lt;property id=&quot;20307&quot; value=&quot;1954&quot;/&gt;&lt;/object&gt;&lt;object type=&quot;3&quot; unique_id=&quot;627784&quot;&gt;&lt;property id=&quot;20148&quot; value=&quot;5&quot;/&gt;&lt;property id=&quot;20300&quot; value=&quot;Slide 17 - &amp;quot;TOP 2.0 Process Changes&amp;quot;&quot;/&gt;&lt;property id=&quot;20307&quot; value=&quot;1959&quot;/&gt;&lt;/object&gt;&lt;object type=&quot;3&quot; unique_id=&quot;627785&quot;&gt;&lt;property id=&quot;20148&quot; value=&quot;5&quot;/&gt;&lt;property id=&quot;20300&quot; value=&quot;Slide 18 - &amp;quot;TOP 2.0 Process Changes&amp;quot;&quot;/&gt;&lt;property id=&quot;20307&quot; value=&quot;1958&quot;/&gt;&lt;/object&gt;&lt;object type=&quot;3&quot; unique_id=&quot;627786&quot;&gt;&lt;property id=&quot;20148&quot; value=&quot;5&quot;/&gt;&lt;property id=&quot;20300&quot; value=&quot;Slide 19 - &amp;quot;TOP 2.0 Roles and Responsibilities&amp;quot;&quot;/&gt;&lt;property id=&quot;20307&quot; value=&quot;1960&quot;/&gt;&lt;/object&gt;&lt;object type=&quot;3&quot; unique_id=&quot;627787&quot;&gt;&lt;property id=&quot;20148&quot; value=&quot;5&quot;/&gt;&lt;property id=&quot;20300&quot; value=&quot;Slide 20 - &amp;quot;TOP 2.0 Training Enhancements&amp;quot;&quot;/&gt;&lt;property id=&quot;20307&quot; value=&quot;1961&quot;/&gt;&lt;/object&gt;&lt;object type=&quot;3&quot; unique_id=&quot;627788&quot;&gt;&lt;property id=&quot;20148&quot; value=&quot;5&quot;/&gt;&lt;property id=&quot;20300&quot; value=&quot;Slide 21&quot;/&gt;&lt;property id=&quot;20307&quot; value=&quot;1965&quot;/&gt;&lt;/object&gt;&lt;object type=&quot;3&quot; unique_id=&quot;627789&quot;&gt;&lt;property id=&quot;20148&quot; value=&quot;5&quot;/&gt;&lt;property id=&quot;20300&quot; value=&quot;Slide 22 - &amp;quot;How to Make TOP Your Own&amp;quot;&quot;/&gt;&lt;property id=&quot;20307&quot; value=&quot;1974&quot;/&gt;&lt;/object&gt;&lt;object type=&quot;3&quot; unique_id=&quot;627790&quot;&gt;&lt;property id=&quot;20148&quot; value=&quot;5&quot;/&gt;&lt;property id=&quot;20300&quot; value=&quot;Slide 23 - &amp;quot;Next Steps and Ongoing Support&amp;quot;&quot;/&gt;&lt;property id=&quot;20307&quot; value=&quot;1967&quot;/&gt;&lt;/object&gt;&lt;object type=&quot;3&quot; unique_id=&quot;627791&quot;&gt;&lt;property id=&quot;20148&quot; value=&quot;5&quot;/&gt;&lt;property id=&quot;20300&quot; value=&quot;Slide 24 - &amp;quot;Wrap Up date Q&amp;amp;A&amp;quot;&quot;/&gt;&lt;property id=&quot;20307&quot; value=&quot;1970&quot;/&gt;&lt;/object&gt;&lt;object type=&quot;3&quot; unique_id=&quot;627987&quot;&gt;&lt;property id=&quot;20148&quot; value=&quot;5&quot;/&gt;&lt;property id=&quot;20300&quot; value=&quot;Slide 9 - &amp;quot;TOP Benefits to DSS &amp;quot;&quot;/&gt;&lt;property id=&quot;20307&quot; value=&quot;1975&quot;/&gt;&lt;/object&gt;&lt;object type=&quot;3&quot; unique_id=&quot;629670&quot;&gt;&lt;property id=&quot;20148&quot; value=&quot;5&quot;/&gt;&lt;property id=&quot;20300&quot; value=&quot;Slide 12 - &amp;quot;What is TOP 2.0?&amp;quot;&quot;/&gt;&lt;property id=&quot;20307&quot; value=&quot;1978&quot;/&gt;&lt;/object&gt;&lt;object type=&quot;3&quot; unique_id=&quot;629671&quot;&gt;&lt;property id=&quot;20148&quot; value=&quot;5&quot;/&gt;&lt;property id=&quot;20300&quot; value=&quot;Slide 13 - &amp;quot;MythBusters TOP 2.0&amp;quot;&quot;/&gt;&lt;property id=&quot;20307&quot; value=&quot;1979&quot;/&gt;&lt;/object&gt;&lt;/object&gt;&lt;object type=&quot;8&quot; unique_id=&quot;1004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mfW3bPhy0K7UA48v3H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OAyJ.1tD0.R.PpwtbXi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heme/theme1.xml><?xml version="1.0" encoding="utf-8"?>
<a:theme xmlns:a="http://schemas.openxmlformats.org/drawingml/2006/main" name="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wrap="none" lIns="91440" tIns="45720" rIns="91440" bIns="45720">
        <a:spAutoFit/>
      </a:bodyPr>
      <a:lstStyle>
        <a:defPPr algn="ctr">
          <a:defRPr sz="5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webinar learn@lunch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A6C3CA7FC06344A8146A2ACD27943A" ma:contentTypeVersion="0" ma:contentTypeDescription="Create a new document." ma:contentTypeScope="" ma:versionID="a529ad76b9e87ef47766b8e8b3abc83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21AE3D-4ED1-43DB-B70E-5C8F769F84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C8CE02-1C6B-4E4F-9D68-C16CF0CA74B4}">
  <ds:schemaRefs>
    <ds:schemaRef ds:uri="http://schemas.microsoft.com/sharepoint/v3/contenttype/forms"/>
  </ds:schemaRefs>
</ds:datastoreItem>
</file>

<file path=customXml/itemProps3.xml><?xml version="1.0" encoding="utf-8"?>
<ds:datastoreItem xmlns:ds="http://schemas.openxmlformats.org/officeDocument/2006/customXml" ds:itemID="{FEFBC076-3D1E-480C-8D1E-0EFBE39CEEBF}">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117266</TotalTime>
  <Words>2688</Words>
  <Application>Microsoft Office PowerPoint</Application>
  <PresentationFormat>Letter Paper (8.5x11 in)</PresentationFormat>
  <Paragraphs>325</Paragraphs>
  <Slides>23</Slides>
  <Notes>23</Notes>
  <HiddenSlides>0</HiddenSlides>
  <MMClips>0</MMClips>
  <ScaleCrop>false</ScaleCrop>
  <HeadingPairs>
    <vt:vector size="6" baseType="variant">
      <vt:variant>
        <vt:lpstr>Theme</vt:lpstr>
      </vt:variant>
      <vt:variant>
        <vt:i4>18</vt:i4>
      </vt:variant>
      <vt:variant>
        <vt:lpstr>Embedded OLE Servers</vt:lpstr>
      </vt:variant>
      <vt:variant>
        <vt:i4>1</vt:i4>
      </vt:variant>
      <vt:variant>
        <vt:lpstr>Slide Titles</vt:lpstr>
      </vt:variant>
      <vt:variant>
        <vt:i4>23</vt:i4>
      </vt:variant>
    </vt:vector>
  </HeadingPairs>
  <TitlesOfParts>
    <vt:vector size="42" baseType="lpstr">
      <vt:lpstr>US Consulting Report Template_R1.5V_0310</vt:lpstr>
      <vt:lpstr>1_US Consulting Report Template_R1.5V_0310</vt:lpstr>
      <vt:lpstr>2_US Consulting Report Template_R1.5V_0310</vt:lpstr>
      <vt:lpstr>3_US Consulting Report Template_R1.5V_0310</vt:lpstr>
      <vt:lpstr>4_US Consulting Report Template_R1.5V_0310</vt:lpstr>
      <vt:lpstr>5_US Consulting Report Template_R1.5V_0310</vt:lpstr>
      <vt:lpstr>6_US Consulting Report Template_R1.5V_0310</vt:lpstr>
      <vt:lpstr>7_US Consulting Report Template_R1.5V_0310</vt:lpstr>
      <vt:lpstr>8_US Consulting Report Template_R1.5V_0310</vt:lpstr>
      <vt:lpstr>9_US Consulting Report Template_R1.5V_0310</vt:lpstr>
      <vt:lpstr>1_Office Theme</vt:lpstr>
      <vt:lpstr>10_US Consulting Report Template_R1.5V_0310</vt:lpstr>
      <vt:lpstr>11_US Consulting Report Template_R1.5V_0310</vt:lpstr>
      <vt:lpstr>12_US Consulting Report Template_R1.5V_0310</vt:lpstr>
      <vt:lpstr>1_webinar learn@lunch template</vt:lpstr>
      <vt:lpstr>5_Custom Design</vt:lpstr>
      <vt:lpstr>13_US Consulting Report Template_R1.5V_0310</vt:lpstr>
      <vt:lpstr>6_Custom Design</vt:lpstr>
      <vt:lpstr>think-cell Slide</vt:lpstr>
      <vt:lpstr>PowerPoint Presentation</vt:lpstr>
      <vt:lpstr>What is Risk Management Framework (RMF)</vt:lpstr>
      <vt:lpstr>RMF Policy References</vt:lpstr>
      <vt:lpstr>RMF Process Stakeholders: New Terminology </vt:lpstr>
      <vt:lpstr>Connecting the Dots Old and New</vt:lpstr>
      <vt:lpstr>Connecting the Dots Cont.</vt:lpstr>
      <vt:lpstr>Key Factors Driving the Transition to RMF</vt:lpstr>
      <vt:lpstr>Roles and Responsibilities in the RMF Process</vt:lpstr>
      <vt:lpstr>Roles and Responsibilities in the RMF Process</vt:lpstr>
      <vt:lpstr>RMF Process Walk Through: Introduction</vt:lpstr>
      <vt:lpstr>RMF Process Walk Through</vt:lpstr>
      <vt:lpstr>Risk Assessment Report (RAR)</vt:lpstr>
      <vt:lpstr>RMF Process Walk Through</vt:lpstr>
      <vt:lpstr>Security Controls - Overlays</vt:lpstr>
      <vt:lpstr>SSP Controls</vt:lpstr>
      <vt:lpstr>RMF Process Walk Through</vt:lpstr>
      <vt:lpstr>RMF Process Walk Through</vt:lpstr>
      <vt:lpstr>RMF Process Walk Through</vt:lpstr>
      <vt:lpstr>RMF Process Walk Through</vt:lpstr>
      <vt:lpstr>RMF Process Walk Through</vt:lpstr>
      <vt:lpstr>Security Controls and Continuous Monitoring</vt:lpstr>
      <vt:lpstr>Transition Timeline</vt:lpstr>
      <vt:lpstr>Resour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yson, India, CIV, DSS</dc:creator>
  <cp:lastModifiedBy>Dyson, India, CIV, DSS</cp:lastModifiedBy>
  <cp:revision>6044</cp:revision>
  <cp:lastPrinted>2016-03-10T18:31:42Z</cp:lastPrinted>
  <dcterms:created xsi:type="dcterms:W3CDTF">2010-03-18T17:57:48Z</dcterms:created>
  <dcterms:modified xsi:type="dcterms:W3CDTF">2016-11-17T14:2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_ID">
    <vt:lpwstr>repTempV1</vt:lpwstr>
  </property>
  <property fmtid="{D5CDD505-2E9C-101B-9397-08002B2CF9AE}" pid="3" name="ContentTypeId">
    <vt:lpwstr>0x010100C9A6C3CA7FC06344A8146A2ACD27943A</vt:lpwstr>
  </property>
</Properties>
</file>